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14"/>
  </p:notesMasterIdLst>
  <p:sldIdLst>
    <p:sldId id="335" r:id="rId3"/>
    <p:sldId id="332" r:id="rId4"/>
    <p:sldId id="333" r:id="rId5"/>
    <p:sldId id="334" r:id="rId6"/>
    <p:sldId id="331" r:id="rId7"/>
    <p:sldId id="338" r:id="rId8"/>
    <p:sldId id="341" r:id="rId9"/>
    <p:sldId id="336" r:id="rId10"/>
    <p:sldId id="340" r:id="rId11"/>
    <p:sldId id="339" r:id="rId12"/>
    <p:sldId id="337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A800"/>
    <a:srgbClr val="00A596"/>
    <a:srgbClr val="B9418C"/>
    <a:srgbClr val="FFE28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00" autoAdjust="0"/>
    <p:restoredTop sz="95382" autoAdjust="0"/>
  </p:normalViewPr>
  <p:slideViewPr>
    <p:cSldViewPr snapToGrid="0" snapToObjects="1">
      <p:cViewPr varScale="1">
        <p:scale>
          <a:sx n="69" d="100"/>
          <a:sy n="69" d="100"/>
        </p:scale>
        <p:origin x="98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DEV/HML – NDS/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2- Motor de Regras [</a:t>
          </a:r>
          <a:r>
            <a:rPr lang="pt-BR" dirty="0" err="1" smtClean="0">
              <a:latin typeface="Simplon BP Regular" pitchFamily="2" charset="0"/>
            </a:rPr>
            <a:t>Qwin</a:t>
          </a:r>
          <a:r>
            <a:rPr lang="pt-BR" dirty="0" smtClean="0">
              <a:latin typeface="Simplon BP Regular" pitchFamily="2" charset="0"/>
            </a:rPr>
            <a:t> TV </a:t>
          </a:r>
          <a:r>
            <a:rPr lang="pt-BR" dirty="0" err="1" smtClean="0">
              <a:latin typeface="Simplon BP Regular" pitchFamily="2" charset="0"/>
            </a:rPr>
            <a:t>offline</a:t>
          </a:r>
          <a:r>
            <a:rPr lang="pt-BR" dirty="0" smtClean="0">
              <a:latin typeface="Simplon BP Regular" pitchFamily="2" charset="0"/>
            </a:rPr>
            <a:t>]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1- 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3- Oi Total 2P Fixo R1/R2 +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4- 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5 &amp; 6- Oi Total + Móvel puro Online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1- Interfaces CRM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804FE1C7-0105-4454-82F6-BFEB775639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quisição Infra PRD – NDS/SI</a:t>
          </a:r>
          <a:endParaRPr lang="pt-BR" dirty="0">
            <a:latin typeface="Simplon BP Regular" pitchFamily="2" charset="0"/>
          </a:endParaRPr>
        </a:p>
      </dgm:t>
    </dgm:pt>
    <dgm:pt modelId="{925D52AE-81B1-472A-9D44-9867284638E4}" type="parTrans" cxnId="{C41219D5-0A19-4B52-8C88-06C478AE7DAA}">
      <dgm:prSet/>
      <dgm:spPr/>
      <dgm:t>
        <a:bodyPr/>
        <a:lstStyle/>
        <a:p>
          <a:endParaRPr lang="pt-BR"/>
        </a:p>
      </dgm:t>
    </dgm:pt>
    <dgm:pt modelId="{0E76CAC7-3853-4386-9996-AF5259B14558}" type="sibTrans" cxnId="{C41219D5-0A19-4B52-8C88-06C478AE7DAA}">
      <dgm:prSet/>
      <dgm:spPr/>
      <dgm:t>
        <a:bodyPr/>
        <a:lstStyle/>
        <a:p>
          <a:endParaRPr lang="pt-BR"/>
        </a:p>
      </dgm:t>
    </dgm:pt>
    <dgm:pt modelId="{37D2FDFA-F3C0-4E06-93F2-154319ABBCC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7.2- Interfaces </a:t>
          </a:r>
          <a:r>
            <a:rPr lang="pt-BR" dirty="0" err="1" smtClean="0">
              <a:latin typeface="Simplon BP Regular" pitchFamily="2" charset="0"/>
            </a:rPr>
            <a:t>fat</a:t>
          </a:r>
          <a:r>
            <a:rPr lang="pt-BR" dirty="0" smtClean="0">
              <a:latin typeface="Simplon BP Regular" pitchFamily="2" charset="0"/>
            </a:rPr>
            <a:t>/</a:t>
          </a:r>
          <a:r>
            <a:rPr lang="pt-BR" dirty="0" err="1" smtClean="0">
              <a:latin typeface="Simplon BP Regular" pitchFamily="2" charset="0"/>
            </a:rPr>
            <a:t>inad</a:t>
          </a:r>
          <a:r>
            <a:rPr lang="pt-BR" dirty="0" smtClean="0">
              <a:latin typeface="Simplon BP Regular" pitchFamily="2" charset="0"/>
            </a:rPr>
            <a:t>/recargas etc.</a:t>
          </a:r>
          <a:endParaRPr lang="pt-BR" dirty="0">
            <a:latin typeface="Simplon BP Regular" pitchFamily="2" charset="0"/>
          </a:endParaRPr>
        </a:p>
      </dgm:t>
    </dgm:pt>
    <dgm:pt modelId="{D0F55E98-0847-4FF1-A601-D2074CAC1A16}" type="parTrans" cxnId="{DF81D2F8-0064-49C6-82E3-63C4F86E8494}">
      <dgm:prSet/>
      <dgm:spPr/>
      <dgm:t>
        <a:bodyPr/>
        <a:lstStyle/>
        <a:p>
          <a:endParaRPr lang="pt-BR"/>
        </a:p>
      </dgm:t>
    </dgm:pt>
    <dgm:pt modelId="{DB89F817-A12B-47BC-913F-ECF0B3992012}" type="sibTrans" cxnId="{DF81D2F8-0064-49C6-82E3-63C4F86E8494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2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0" presStyleCnt="10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1" presStyleCnt="22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2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1" presStyleCnt="10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3" presStyleCnt="22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4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2" presStyleCnt="10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5" presStyleCnt="22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6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8345B538-0022-4B22-9389-B3EE7408EE47}" type="pres">
      <dgm:prSet presAssocID="{804FE1C7-0105-4454-82F6-BFEB7756393C}" presName="desBackupLeftNorm" presStyleCnt="0"/>
      <dgm:spPr/>
    </dgm:pt>
    <dgm:pt modelId="{2BBC5C49-B074-47C7-A786-478601038476}" type="pres">
      <dgm:prSet presAssocID="{804FE1C7-0105-4454-82F6-BFEB7756393C}" presName="desComposite" presStyleCnt="0"/>
      <dgm:spPr/>
    </dgm:pt>
    <dgm:pt modelId="{B88A808A-6D31-491D-BE3F-A489F02F644F}" type="pres">
      <dgm:prSet presAssocID="{804FE1C7-0105-4454-82F6-BFEB7756393C}" presName="desCircle" presStyleLbl="node1" presStyleIdx="3" presStyleCnt="10"/>
      <dgm:spPr/>
    </dgm:pt>
    <dgm:pt modelId="{33385588-CEE7-4921-86D6-5DB56F25733B}" type="pres">
      <dgm:prSet presAssocID="{804FE1C7-0105-4454-82F6-BFEB7756393C}" presName="chTx" presStyleLbl="revTx" presStyleIdx="7" presStyleCnt="22"/>
      <dgm:spPr/>
      <dgm:t>
        <a:bodyPr/>
        <a:lstStyle/>
        <a:p>
          <a:endParaRPr lang="pt-BR"/>
        </a:p>
      </dgm:t>
    </dgm:pt>
    <dgm:pt modelId="{9E2EB3AE-AB40-4FF6-81BC-67DD2E149D07}" type="pres">
      <dgm:prSet presAssocID="{804FE1C7-0105-4454-82F6-BFEB7756393C}" presName="desTx" presStyleLbl="revTx" presStyleIdx="8" presStyleCnt="22">
        <dgm:presLayoutVars>
          <dgm:bulletEnabled val="1"/>
        </dgm:presLayoutVars>
      </dgm:prSet>
      <dgm:spPr/>
    </dgm:pt>
    <dgm:pt modelId="{BD61E05B-478D-41B8-B2B8-AAB50A97C38B}" type="pres">
      <dgm:prSet presAssocID="{804FE1C7-0105-4454-82F6-BFEB7756393C}" presName="desBackupRightNorm" presStyleCnt="0"/>
      <dgm:spPr/>
    </dgm:pt>
    <dgm:pt modelId="{43353E85-5B6E-4CE7-A593-7F5D44BA6D4D}" type="pres">
      <dgm:prSet presAssocID="{0E76CAC7-3853-4386-9996-AF5259B1455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2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10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2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10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2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10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2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10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2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10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2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  <dgm:pt modelId="{8B9717E1-B194-4E1F-AD43-F6D9913B20D9}" type="pres">
      <dgm:prSet presAssocID="{37D2FDFA-F3C0-4E06-93F2-154319ABBCC8}" presName="desBackupLeftNorm" presStyleCnt="0"/>
      <dgm:spPr/>
    </dgm:pt>
    <dgm:pt modelId="{38DB3036-1B7A-4FA4-BA20-6BD0F5F3ACC6}" type="pres">
      <dgm:prSet presAssocID="{37D2FDFA-F3C0-4E06-93F2-154319ABBCC8}" presName="desComposite" presStyleCnt="0"/>
      <dgm:spPr/>
    </dgm:pt>
    <dgm:pt modelId="{D51BFFF2-4320-4695-A3BB-35020D09811E}" type="pres">
      <dgm:prSet presAssocID="{37D2FDFA-F3C0-4E06-93F2-154319ABBCC8}" presName="desCircle" presStyleLbl="node1" presStyleIdx="9" presStyleCnt="10"/>
      <dgm:spPr/>
    </dgm:pt>
    <dgm:pt modelId="{6467B0E9-04E2-44A1-8F25-6FA6F36F33B1}" type="pres">
      <dgm:prSet presAssocID="{37D2FDFA-F3C0-4E06-93F2-154319ABBCC8}" presName="chTx" presStyleLbl="revTx" presStyleIdx="20" presStyleCnt="22"/>
      <dgm:spPr/>
      <dgm:t>
        <a:bodyPr/>
        <a:lstStyle/>
        <a:p>
          <a:endParaRPr lang="pt-BR"/>
        </a:p>
      </dgm:t>
    </dgm:pt>
    <dgm:pt modelId="{BD4CC4AC-B4AD-4C64-819F-6D2E8601042C}" type="pres">
      <dgm:prSet presAssocID="{37D2FDFA-F3C0-4E06-93F2-154319ABBCC8}" presName="desTx" presStyleLbl="revTx" presStyleIdx="21" presStyleCnt="22">
        <dgm:presLayoutVars>
          <dgm:bulletEnabled val="1"/>
        </dgm:presLayoutVars>
      </dgm:prSet>
      <dgm:spPr/>
    </dgm:pt>
    <dgm:pt modelId="{71D3FCE5-CB84-40A1-BF7B-4B6E47785EA7}" type="pres">
      <dgm:prSet presAssocID="{37D2FDFA-F3C0-4E06-93F2-154319ABBCC8}" presName="desBackupRightNorm" presStyleCnt="0"/>
      <dgm:spPr/>
    </dgm:pt>
    <dgm:pt modelId="{F93B194F-43C5-4B38-A4C0-5BF32D52ED05}" type="pres">
      <dgm:prSet presAssocID="{DB89F817-A12B-47BC-913F-ECF0B3992012}" presName="desSpace" presStyleCnt="0"/>
      <dgm:spPr/>
    </dgm:pt>
  </dgm:ptLst>
  <dgm:cxnLst>
    <dgm:cxn modelId="{D0EC7BB4-2B0B-42D9-BD28-5B8B97F9097C}" type="presOf" srcId="{DBC45600-1869-4512-A3AB-AA97CD7EB4A9}" destId="{D0E61BE3-08C2-42D5-B308-61E0BFDF64D4}" srcOrd="0" destOrd="0" presId="urn:microsoft.com/office/officeart/2008/layout/CircleAccentTimeline"/>
    <dgm:cxn modelId="{5742CC47-966F-440D-86CA-8CC151FB1E1D}" type="presOf" srcId="{5A4F4D41-DDF6-494A-8DDF-DBA20DF76974}" destId="{593E5578-D846-4CF3-A9D5-73E453066575}" srcOrd="0" destOrd="0" presId="urn:microsoft.com/office/officeart/2008/layout/CircleAccentTimeline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58974AEE-6363-4933-BDFC-45157ED97124}" type="presOf" srcId="{7DC18236-30EB-4302-A4DA-2190886A08E9}" destId="{02CA001B-E24E-4625-8CFA-1A6C755C930E}" srcOrd="0" destOrd="0" presId="urn:microsoft.com/office/officeart/2008/layout/CircleAccentTimeline"/>
    <dgm:cxn modelId="{2E10D514-5F80-48BB-9373-A48D255564B5}" type="presOf" srcId="{37D2FDFA-F3C0-4E06-93F2-154319ABBCC8}" destId="{6467B0E9-04E2-44A1-8F25-6FA6F36F33B1}" srcOrd="0" destOrd="0" presId="urn:microsoft.com/office/officeart/2008/layout/CircleAccentTimeline"/>
    <dgm:cxn modelId="{51CC282A-332E-4D31-A3C8-0B3023FFA162}" srcId="{26566767-DCC0-4231-911B-DF7E9F672A5E}" destId="{776EC1F7-996A-4DD0-A761-236B8084FE3C}" srcOrd="2" destOrd="0" parTransId="{85715835-C126-456E-B66C-D52AF0D21E7A}" sibTransId="{38770524-231E-4006-AE1B-7520970ED3E8}"/>
    <dgm:cxn modelId="{A1F0479C-59F8-445C-9CD6-416F7220518F}" type="presOf" srcId="{D3D679E8-8BB4-4301-8A72-28E361C78A32}" destId="{D911B9EF-06FF-4EFF-B38F-46F7111F856E}" srcOrd="0" destOrd="0" presId="urn:microsoft.com/office/officeart/2008/layout/CircleAccentTimeline"/>
    <dgm:cxn modelId="{DF81D2F8-0064-49C6-82E3-63C4F86E8494}" srcId="{57D3AE1B-73A5-48A4-9A09-1A300CDA4E8B}" destId="{37D2FDFA-F3C0-4E06-93F2-154319ABBCC8}" srcOrd="5" destOrd="0" parTransId="{D0F55E98-0847-4FF1-A601-D2074CAC1A16}" sibTransId="{DB89F817-A12B-47BC-913F-ECF0B3992012}"/>
    <dgm:cxn modelId="{C41219D5-0A19-4B52-8C88-06C478AE7DAA}" srcId="{26566767-DCC0-4231-911B-DF7E9F672A5E}" destId="{804FE1C7-0105-4454-82F6-BFEB7756393C}" srcOrd="3" destOrd="0" parTransId="{925D52AE-81B1-472A-9D44-9867284638E4}" sibTransId="{0E76CAC7-3853-4386-9996-AF5259B14558}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E977A5CF-4751-4679-BFC3-2CE8C4912D87}" type="presOf" srcId="{26566767-DCC0-4231-911B-DF7E9F672A5E}" destId="{6F73384A-DB24-4E9B-9313-3EFB3DDE8577}" srcOrd="0" destOrd="0" presId="urn:microsoft.com/office/officeart/2008/layout/CircleAccentTimeline"/>
    <dgm:cxn modelId="{E0C0C438-2A21-413E-BB3B-C75B52F22E28}" type="presOf" srcId="{31715DCE-1033-4F51-AA7E-996A37078C2B}" destId="{EB6A5027-8CC0-4067-8103-7E8095435049}" srcOrd="0" destOrd="0" presId="urn:microsoft.com/office/officeart/2008/layout/CircleAccentTimeline"/>
    <dgm:cxn modelId="{C4DA5776-1389-492B-9185-A0B1B842ADE3}" srcId="{26566767-DCC0-4231-911B-DF7E9F672A5E}" destId="{5A4F4D41-DDF6-494A-8DDF-DBA20DF76974}" srcOrd="0" destOrd="0" parTransId="{1151E5EA-0103-462A-B969-10246FCB6120}" sibTransId="{7E922CEC-986E-427E-8CAC-FE2ADD87AAE1}"/>
    <dgm:cxn modelId="{6D782324-1811-412B-8FCB-6714DC48C37B}" type="presOf" srcId="{57D3AE1B-73A5-48A4-9A09-1A300CDA4E8B}" destId="{3EDE9DD2-3243-430B-BFDF-DB42C8C39F0F}" srcOrd="0" destOrd="0" presId="urn:microsoft.com/office/officeart/2008/layout/CircleAccentTimeline"/>
    <dgm:cxn modelId="{94BF7056-B3F1-4C58-9689-63413BE6E86A}" type="presOf" srcId="{804FE1C7-0105-4454-82F6-BFEB7756393C}" destId="{33385588-CEE7-4921-86D6-5DB56F25733B}" srcOrd="0" destOrd="0" presId="urn:microsoft.com/office/officeart/2008/layout/CircleAccentTimeline"/>
    <dgm:cxn modelId="{620DE3E3-B16A-4D55-B303-5C7222181C48}" type="presOf" srcId="{3BB52753-ADB0-4BB6-8892-2A780252071D}" destId="{8CA68C6F-E3B6-46A7-A9B1-B780AB0310AB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766FB835-9559-49D8-A0C1-23178FAE1988}" type="presOf" srcId="{AD47C804-6BCC-4DBF-BB15-E03DC61E03B9}" destId="{BF4020F7-F215-45CC-8770-28C12A152C49}" srcOrd="0" destOrd="0" presId="urn:microsoft.com/office/officeart/2008/layout/CircleAccentTimeline"/>
    <dgm:cxn modelId="{0E265ACC-EF65-4601-BE29-263424C76CF5}" type="presOf" srcId="{776EC1F7-996A-4DD0-A761-236B8084FE3C}" destId="{F56B5539-3C77-47E1-8754-B43314A96F14}" srcOrd="0" destOrd="0" presId="urn:microsoft.com/office/officeart/2008/layout/CircleAccentTimeline"/>
    <dgm:cxn modelId="{1D34487E-E363-4589-9C49-CD31BE01F8FB}" type="presOf" srcId="{FD8CB35D-9AA8-4D3B-85BD-0C98676B30A3}" destId="{1A704293-4A00-4269-9793-84EF60BB46E7}" srcOrd="0" destOrd="0" presId="urn:microsoft.com/office/officeart/2008/layout/CircleAccentTimeline"/>
    <dgm:cxn modelId="{BDC3B72E-0527-4D43-8C8C-47DE50D8533C}" srcId="{26566767-DCC0-4231-911B-DF7E9F672A5E}" destId="{7DC18236-30EB-4302-A4DA-2190886A08E9}" srcOrd="1" destOrd="0" parTransId="{5226747E-1F3F-4544-A490-D72812649869}" sibTransId="{A3714163-7465-460C-B689-F1432FA66DF2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50429F9F-6F0C-4C63-8489-22F7BB16BA3C}" type="presParOf" srcId="{1A704293-4A00-4269-9793-84EF60BB46E7}" destId="{A4C70CCE-E506-430D-8CE9-E3F0C822F8C1}" srcOrd="0" destOrd="0" presId="urn:microsoft.com/office/officeart/2008/layout/CircleAccentTimeline"/>
    <dgm:cxn modelId="{1183E6F4-66B0-4971-8C16-FEA2663E327E}" type="presParOf" srcId="{A4C70CCE-E506-430D-8CE9-E3F0C822F8C1}" destId="{56AEF2CF-BD74-47E9-9224-4EAC05CF5B8D}" srcOrd="0" destOrd="0" presId="urn:microsoft.com/office/officeart/2008/layout/CircleAccentTimeline"/>
    <dgm:cxn modelId="{8FCAEBC8-D6DC-4B1A-829A-12259A82F1FB}" type="presParOf" srcId="{A4C70CCE-E506-430D-8CE9-E3F0C822F8C1}" destId="{6F73384A-DB24-4E9B-9313-3EFB3DDE8577}" srcOrd="1" destOrd="0" presId="urn:microsoft.com/office/officeart/2008/layout/CircleAccentTimeline"/>
    <dgm:cxn modelId="{44E0682C-9A56-48A2-B1DD-0A43E6D12D91}" type="presParOf" srcId="{A4C70CCE-E506-430D-8CE9-E3F0C822F8C1}" destId="{12B297DC-E2BD-43F9-AB76-F334910D5A94}" srcOrd="2" destOrd="0" presId="urn:microsoft.com/office/officeart/2008/layout/CircleAccentTimeline"/>
    <dgm:cxn modelId="{7A6A0415-C2E2-4211-889F-0A74F20E6217}" type="presParOf" srcId="{1A704293-4A00-4269-9793-84EF60BB46E7}" destId="{C054349A-9079-4978-A10C-80B4000B73E6}" srcOrd="1" destOrd="0" presId="urn:microsoft.com/office/officeart/2008/layout/CircleAccentTimeline"/>
    <dgm:cxn modelId="{B2736723-F6CA-4338-8508-EDD8ED16ABC7}" type="presParOf" srcId="{1A704293-4A00-4269-9793-84EF60BB46E7}" destId="{24C5703B-3128-468D-93D7-5B64EFF7DC5D}" srcOrd="2" destOrd="0" presId="urn:microsoft.com/office/officeart/2008/layout/CircleAccentTimeline"/>
    <dgm:cxn modelId="{F75A2C69-08F3-4E0A-965A-FA2AD92F65D0}" type="presParOf" srcId="{1A704293-4A00-4269-9793-84EF60BB46E7}" destId="{F5F5C2A5-CD2A-4BF3-9E7D-9CC3E927F990}" srcOrd="3" destOrd="0" presId="urn:microsoft.com/office/officeart/2008/layout/CircleAccentTimeline"/>
    <dgm:cxn modelId="{F72636EF-D3F4-4C50-84B3-CF6587C310D0}" type="presParOf" srcId="{1A704293-4A00-4269-9793-84EF60BB46E7}" destId="{00904F4D-D009-481C-BDD7-C81BF30DD670}" srcOrd="4" destOrd="0" presId="urn:microsoft.com/office/officeart/2008/layout/CircleAccentTimeline"/>
    <dgm:cxn modelId="{3196C0B1-99BA-40AA-B842-2BCB12CD6094}" type="presParOf" srcId="{00904F4D-D009-481C-BDD7-C81BF30DD670}" destId="{46B25F0D-D431-4949-81A0-676174D34183}" srcOrd="0" destOrd="0" presId="urn:microsoft.com/office/officeart/2008/layout/CircleAccentTimeline"/>
    <dgm:cxn modelId="{F609B8E2-71D4-4162-AEA5-DFEDB4184DE9}" type="presParOf" srcId="{00904F4D-D009-481C-BDD7-C81BF30DD670}" destId="{593E5578-D846-4CF3-A9D5-73E453066575}" srcOrd="1" destOrd="0" presId="urn:microsoft.com/office/officeart/2008/layout/CircleAccentTimeline"/>
    <dgm:cxn modelId="{79B6BCB9-F36C-4B82-BF3C-85A067DE3602}" type="presParOf" srcId="{00904F4D-D009-481C-BDD7-C81BF30DD670}" destId="{A1AA65C6-9A13-4697-920B-109CDD4DDA94}" srcOrd="2" destOrd="0" presId="urn:microsoft.com/office/officeart/2008/layout/CircleAccentTimeline"/>
    <dgm:cxn modelId="{2CC272D4-D3F9-40EA-B773-A3B9333C6C61}" type="presParOf" srcId="{1A704293-4A00-4269-9793-84EF60BB46E7}" destId="{6E357F85-05B6-4B53-9066-7FB07E9EAA3E}" srcOrd="5" destOrd="0" presId="urn:microsoft.com/office/officeart/2008/layout/CircleAccentTimeline"/>
    <dgm:cxn modelId="{84C602CD-8400-43D9-854F-4C723F478A37}" type="presParOf" srcId="{1A704293-4A00-4269-9793-84EF60BB46E7}" destId="{387B4C12-958B-44D9-A807-6D6D9A880085}" srcOrd="6" destOrd="0" presId="urn:microsoft.com/office/officeart/2008/layout/CircleAccentTimeline"/>
    <dgm:cxn modelId="{CBC85DFE-005D-4AEB-AF1F-2345B5384043}" type="presParOf" srcId="{1A704293-4A00-4269-9793-84EF60BB46E7}" destId="{84CCE456-9A31-4DEE-BAB7-3AAB4DB7BF78}" srcOrd="7" destOrd="0" presId="urn:microsoft.com/office/officeart/2008/layout/CircleAccentTimeline"/>
    <dgm:cxn modelId="{439B0B5D-3439-40AB-B95A-86A85EA11AD9}" type="presParOf" srcId="{1A704293-4A00-4269-9793-84EF60BB46E7}" destId="{DC73377C-628A-4405-9964-724C2189D1E3}" srcOrd="8" destOrd="0" presId="urn:microsoft.com/office/officeart/2008/layout/CircleAccentTimeline"/>
    <dgm:cxn modelId="{7C65BF7F-3F3E-40DA-A0CC-76A8AE041B4F}" type="presParOf" srcId="{DC73377C-628A-4405-9964-724C2189D1E3}" destId="{3FC968D4-1463-4BB8-8E4F-74B77036556E}" srcOrd="0" destOrd="0" presId="urn:microsoft.com/office/officeart/2008/layout/CircleAccentTimeline"/>
    <dgm:cxn modelId="{8B952987-2A29-4D21-B3C3-6F01175040CC}" type="presParOf" srcId="{DC73377C-628A-4405-9964-724C2189D1E3}" destId="{02CA001B-E24E-4625-8CFA-1A6C755C930E}" srcOrd="1" destOrd="0" presId="urn:microsoft.com/office/officeart/2008/layout/CircleAccentTimeline"/>
    <dgm:cxn modelId="{B8C2B84A-F685-46A8-BA1A-94BD79A5A050}" type="presParOf" srcId="{DC73377C-628A-4405-9964-724C2189D1E3}" destId="{E0FD4796-E7AB-488D-9336-DB3CCBEFE335}" srcOrd="2" destOrd="0" presId="urn:microsoft.com/office/officeart/2008/layout/CircleAccentTimeline"/>
    <dgm:cxn modelId="{D0D2B5BF-FAD0-472D-AB03-CD2D18605554}" type="presParOf" srcId="{1A704293-4A00-4269-9793-84EF60BB46E7}" destId="{AE72B25E-0A65-488B-9C29-B1D763436A57}" srcOrd="9" destOrd="0" presId="urn:microsoft.com/office/officeart/2008/layout/CircleAccentTimeline"/>
    <dgm:cxn modelId="{6AB1BE65-A21A-43D9-8E3F-AE0C3DFF436C}" type="presParOf" srcId="{1A704293-4A00-4269-9793-84EF60BB46E7}" destId="{341DCFA4-81F2-46C5-B89F-D9D6359A3202}" srcOrd="10" destOrd="0" presId="urn:microsoft.com/office/officeart/2008/layout/CircleAccentTimeline"/>
    <dgm:cxn modelId="{FABD3A59-95FA-4F7A-AD68-455B58C2838A}" type="presParOf" srcId="{1A704293-4A00-4269-9793-84EF60BB46E7}" destId="{B5ECE69A-1709-46E5-B808-E420C4621320}" srcOrd="11" destOrd="0" presId="urn:microsoft.com/office/officeart/2008/layout/CircleAccentTimeline"/>
    <dgm:cxn modelId="{0F0ED269-D52B-4830-B282-DEDE48CF97D7}" type="presParOf" srcId="{1A704293-4A00-4269-9793-84EF60BB46E7}" destId="{61EE79E8-884E-4AB3-BBC9-A66BAE573D68}" srcOrd="12" destOrd="0" presId="urn:microsoft.com/office/officeart/2008/layout/CircleAccentTimeline"/>
    <dgm:cxn modelId="{C819D9D4-64B8-44F8-9EB9-5DECAFF7F4EF}" type="presParOf" srcId="{61EE79E8-884E-4AB3-BBC9-A66BAE573D68}" destId="{40C4B2F5-DDA6-41E2-B2AF-97E4F39909E6}" srcOrd="0" destOrd="0" presId="urn:microsoft.com/office/officeart/2008/layout/CircleAccentTimeline"/>
    <dgm:cxn modelId="{4A53E4B2-4E4B-4520-A4EA-C4C585B97EF8}" type="presParOf" srcId="{61EE79E8-884E-4AB3-BBC9-A66BAE573D68}" destId="{F56B5539-3C77-47E1-8754-B43314A96F14}" srcOrd="1" destOrd="0" presId="urn:microsoft.com/office/officeart/2008/layout/CircleAccentTimeline"/>
    <dgm:cxn modelId="{A139B883-28C7-44B4-B458-F2328927EAD1}" type="presParOf" srcId="{61EE79E8-884E-4AB3-BBC9-A66BAE573D68}" destId="{0566B732-D545-48BE-881E-52A791DA4ABA}" srcOrd="2" destOrd="0" presId="urn:microsoft.com/office/officeart/2008/layout/CircleAccentTimeline"/>
    <dgm:cxn modelId="{500D714C-29CC-41C9-AAE8-9CD3366AC178}" type="presParOf" srcId="{1A704293-4A00-4269-9793-84EF60BB46E7}" destId="{8B6973B3-817C-49CE-93D5-F952D3681F10}" srcOrd="13" destOrd="0" presId="urn:microsoft.com/office/officeart/2008/layout/CircleAccentTimeline"/>
    <dgm:cxn modelId="{DD4B2FBC-57B4-4784-827D-D2DE2F6DF5B7}" type="presParOf" srcId="{1A704293-4A00-4269-9793-84EF60BB46E7}" destId="{0E1C1D2A-502D-48CE-AEC8-7488D876E2ED}" srcOrd="14" destOrd="0" presId="urn:microsoft.com/office/officeart/2008/layout/CircleAccentTimeline"/>
    <dgm:cxn modelId="{0845D40A-5C6A-426C-BD1E-D9138060F53E}" type="presParOf" srcId="{1A704293-4A00-4269-9793-84EF60BB46E7}" destId="{8345B538-0022-4B22-9389-B3EE7408EE47}" srcOrd="15" destOrd="0" presId="urn:microsoft.com/office/officeart/2008/layout/CircleAccentTimeline"/>
    <dgm:cxn modelId="{02EB9435-C3FF-4D13-939E-9EB1E745E542}" type="presParOf" srcId="{1A704293-4A00-4269-9793-84EF60BB46E7}" destId="{2BBC5C49-B074-47C7-A786-478601038476}" srcOrd="16" destOrd="0" presId="urn:microsoft.com/office/officeart/2008/layout/CircleAccentTimeline"/>
    <dgm:cxn modelId="{46F1F3AA-1FEB-4CB1-84F2-7B59A7999AD3}" type="presParOf" srcId="{2BBC5C49-B074-47C7-A786-478601038476}" destId="{B88A808A-6D31-491D-BE3F-A489F02F644F}" srcOrd="0" destOrd="0" presId="urn:microsoft.com/office/officeart/2008/layout/CircleAccentTimeline"/>
    <dgm:cxn modelId="{4919BDEB-F0D6-4D70-9791-F965F199E8B1}" type="presParOf" srcId="{2BBC5C49-B074-47C7-A786-478601038476}" destId="{33385588-CEE7-4921-86D6-5DB56F25733B}" srcOrd="1" destOrd="0" presId="urn:microsoft.com/office/officeart/2008/layout/CircleAccentTimeline"/>
    <dgm:cxn modelId="{255BBC40-6BBC-4FFC-B4F8-0BCAF1C3D4B4}" type="presParOf" srcId="{2BBC5C49-B074-47C7-A786-478601038476}" destId="{9E2EB3AE-AB40-4FF6-81BC-67DD2E149D07}" srcOrd="2" destOrd="0" presId="urn:microsoft.com/office/officeart/2008/layout/CircleAccentTimeline"/>
    <dgm:cxn modelId="{769924F3-B232-433C-8980-62585F4BADB1}" type="presParOf" srcId="{1A704293-4A00-4269-9793-84EF60BB46E7}" destId="{BD61E05B-478D-41B8-B2B8-AAB50A97C38B}" srcOrd="17" destOrd="0" presId="urn:microsoft.com/office/officeart/2008/layout/CircleAccentTimeline"/>
    <dgm:cxn modelId="{D3375417-A14A-411B-B94B-3DF066CF3CF3}" type="presParOf" srcId="{1A704293-4A00-4269-9793-84EF60BB46E7}" destId="{43353E85-5B6E-4CE7-A593-7F5D44BA6D4D}" srcOrd="18" destOrd="0" presId="urn:microsoft.com/office/officeart/2008/layout/CircleAccentTimeline"/>
    <dgm:cxn modelId="{CFBDEBC9-7AC2-41D3-96C5-BE4B52B84796}" type="presParOf" srcId="{1A704293-4A00-4269-9793-84EF60BB46E7}" destId="{7803BCF7-F0D7-4B1D-A3EF-8292C734420A}" srcOrd="19" destOrd="0" presId="urn:microsoft.com/office/officeart/2008/layout/CircleAccentTimeline"/>
    <dgm:cxn modelId="{ACE475DA-BBDC-478B-B42D-1C1F33F630FC}" type="presParOf" srcId="{7803BCF7-F0D7-4B1D-A3EF-8292C734420A}" destId="{F87B6F15-59C6-4659-B141-44CA8308F192}" srcOrd="0" destOrd="0" presId="urn:microsoft.com/office/officeart/2008/layout/CircleAccentTimeline"/>
    <dgm:cxn modelId="{146AEF34-9980-4C95-8B8F-096B55E3204A}" type="presParOf" srcId="{7803BCF7-F0D7-4B1D-A3EF-8292C734420A}" destId="{3EDE9DD2-3243-430B-BFDF-DB42C8C39F0F}" srcOrd="1" destOrd="0" presId="urn:microsoft.com/office/officeart/2008/layout/CircleAccentTimeline"/>
    <dgm:cxn modelId="{A39F4657-59C1-4B38-99E8-F0FCC3B6AE00}" type="presParOf" srcId="{7803BCF7-F0D7-4B1D-A3EF-8292C734420A}" destId="{54070C43-6009-4E1C-BA92-33271047321C}" srcOrd="2" destOrd="0" presId="urn:microsoft.com/office/officeart/2008/layout/CircleAccentTimeline"/>
    <dgm:cxn modelId="{20360CF2-521A-44FA-A300-57198EEF30A4}" type="presParOf" srcId="{1A704293-4A00-4269-9793-84EF60BB46E7}" destId="{7F10A9E6-0663-41C6-93C4-F47FB7BD746A}" srcOrd="20" destOrd="0" presId="urn:microsoft.com/office/officeart/2008/layout/CircleAccentTimeline"/>
    <dgm:cxn modelId="{54DAC63B-D328-4A65-94B1-CF175F83DCB0}" type="presParOf" srcId="{1A704293-4A00-4269-9793-84EF60BB46E7}" destId="{77DCCE78-72A1-491E-BC8D-F3AF5E37D4A8}" srcOrd="21" destOrd="0" presId="urn:microsoft.com/office/officeart/2008/layout/CircleAccentTimeline"/>
    <dgm:cxn modelId="{180D3DBE-574D-4B7F-9C78-4836029B02EF}" type="presParOf" srcId="{1A704293-4A00-4269-9793-84EF60BB46E7}" destId="{C74E053A-3AC0-4730-9A92-0F2249A35D8A}" srcOrd="22" destOrd="0" presId="urn:microsoft.com/office/officeart/2008/layout/CircleAccentTimeline"/>
    <dgm:cxn modelId="{F408D16B-6E8B-4F86-BEF9-3B11767F0FBD}" type="presParOf" srcId="{1A704293-4A00-4269-9793-84EF60BB46E7}" destId="{42921E3A-CF41-49D9-A8B2-F862DACD1455}" srcOrd="23" destOrd="0" presId="urn:microsoft.com/office/officeart/2008/layout/CircleAccentTimeline"/>
    <dgm:cxn modelId="{00416E0A-E230-4F59-8C89-19EB8C663BD3}" type="presParOf" srcId="{42921E3A-CF41-49D9-A8B2-F862DACD1455}" destId="{8DBDFD54-FA06-4E78-B1F9-B5C24B106AA5}" srcOrd="0" destOrd="0" presId="urn:microsoft.com/office/officeart/2008/layout/CircleAccentTimeline"/>
    <dgm:cxn modelId="{0A25FC7E-9C7F-4A42-BA5F-103A5B2528BA}" type="presParOf" srcId="{42921E3A-CF41-49D9-A8B2-F862DACD1455}" destId="{EB6A5027-8CC0-4067-8103-7E8095435049}" srcOrd="1" destOrd="0" presId="urn:microsoft.com/office/officeart/2008/layout/CircleAccentTimeline"/>
    <dgm:cxn modelId="{4ACE674B-C0FE-4BB4-9BD2-3B69DDF24E8E}" type="presParOf" srcId="{42921E3A-CF41-49D9-A8B2-F862DACD1455}" destId="{B8523729-5ED9-4781-9993-ED44EE714E76}" srcOrd="2" destOrd="0" presId="urn:microsoft.com/office/officeart/2008/layout/CircleAccentTimeline"/>
    <dgm:cxn modelId="{3D1D6F33-0409-41CE-9766-BFAF89DB1452}" type="presParOf" srcId="{1A704293-4A00-4269-9793-84EF60BB46E7}" destId="{2157E965-1A58-4647-B54C-41301E78F91D}" srcOrd="24" destOrd="0" presId="urn:microsoft.com/office/officeart/2008/layout/CircleAccentTimeline"/>
    <dgm:cxn modelId="{5373614C-9A0E-4B52-BF7B-9593FA61C51D}" type="presParOf" srcId="{1A704293-4A00-4269-9793-84EF60BB46E7}" destId="{2CE77E30-7D1E-4313-BA7A-72425E4B9296}" srcOrd="25" destOrd="0" presId="urn:microsoft.com/office/officeart/2008/layout/CircleAccentTimeline"/>
    <dgm:cxn modelId="{DBE7A0C2-86A5-40F1-ABDB-B22C9A9ACE1E}" type="presParOf" srcId="{1A704293-4A00-4269-9793-84EF60BB46E7}" destId="{C01DFA6D-43E5-4429-A9B3-E2886C2B08AB}" srcOrd="26" destOrd="0" presId="urn:microsoft.com/office/officeart/2008/layout/CircleAccentTimeline"/>
    <dgm:cxn modelId="{43EF37E3-7626-409F-A4B8-9F4DA5F34D44}" type="presParOf" srcId="{1A704293-4A00-4269-9793-84EF60BB46E7}" destId="{7679D52D-7B5F-4A0F-9F3A-A6C3FF6AA255}" srcOrd="27" destOrd="0" presId="urn:microsoft.com/office/officeart/2008/layout/CircleAccentTimeline"/>
    <dgm:cxn modelId="{534498BE-A6B0-4B66-83C3-754DF3FEC79D}" type="presParOf" srcId="{7679D52D-7B5F-4A0F-9F3A-A6C3FF6AA255}" destId="{98F6187D-F3FF-4676-8B83-7A42AA5EA52A}" srcOrd="0" destOrd="0" presId="urn:microsoft.com/office/officeart/2008/layout/CircleAccentTimeline"/>
    <dgm:cxn modelId="{C24AD78B-68B1-4ACF-817A-4CAC0BA8F27F}" type="presParOf" srcId="{7679D52D-7B5F-4A0F-9F3A-A6C3FF6AA255}" destId="{BF4020F7-F215-45CC-8770-28C12A152C49}" srcOrd="1" destOrd="0" presId="urn:microsoft.com/office/officeart/2008/layout/CircleAccentTimeline"/>
    <dgm:cxn modelId="{14066CF6-C66B-4D29-B6F8-2CC6A2156E83}" type="presParOf" srcId="{7679D52D-7B5F-4A0F-9F3A-A6C3FF6AA255}" destId="{9D3D5B97-3DE5-4600-B2D0-2F52A3508BAB}" srcOrd="2" destOrd="0" presId="urn:microsoft.com/office/officeart/2008/layout/CircleAccentTimeline"/>
    <dgm:cxn modelId="{1783D2AB-E1D4-4FF4-8ADE-774789BECC89}" type="presParOf" srcId="{1A704293-4A00-4269-9793-84EF60BB46E7}" destId="{AAA258DE-25B0-4EEC-AE45-3BD52C790DDE}" srcOrd="28" destOrd="0" presId="urn:microsoft.com/office/officeart/2008/layout/CircleAccentTimeline"/>
    <dgm:cxn modelId="{11F0B4BB-E0E7-414A-B1DD-82CD59DED12D}" type="presParOf" srcId="{1A704293-4A00-4269-9793-84EF60BB46E7}" destId="{73CBFFD3-6A7B-4D17-8702-83FFF281EEA4}" srcOrd="29" destOrd="0" presId="urn:microsoft.com/office/officeart/2008/layout/CircleAccentTimeline"/>
    <dgm:cxn modelId="{0162DA7A-A68C-4E78-9456-89E52D1EDC40}" type="presParOf" srcId="{1A704293-4A00-4269-9793-84EF60BB46E7}" destId="{AF334E5A-D793-4FA0-A5C5-0D5AA4768030}" srcOrd="30" destOrd="0" presId="urn:microsoft.com/office/officeart/2008/layout/CircleAccentTimeline"/>
    <dgm:cxn modelId="{2B7268B3-85DA-4A6E-8290-F2780DA41461}" type="presParOf" srcId="{1A704293-4A00-4269-9793-84EF60BB46E7}" destId="{52773FDC-4772-4F97-BC48-7D43FDF59697}" srcOrd="31" destOrd="0" presId="urn:microsoft.com/office/officeart/2008/layout/CircleAccentTimeline"/>
    <dgm:cxn modelId="{1C4B8D00-C1C3-4D39-9ECF-481387CAC119}" type="presParOf" srcId="{52773FDC-4772-4F97-BC48-7D43FDF59697}" destId="{285EB5AC-902D-472C-844D-916AF60547E4}" srcOrd="0" destOrd="0" presId="urn:microsoft.com/office/officeart/2008/layout/CircleAccentTimeline"/>
    <dgm:cxn modelId="{ABAEFEEC-F3EA-4D26-AA9A-58A9C3C24DFD}" type="presParOf" srcId="{52773FDC-4772-4F97-BC48-7D43FDF59697}" destId="{8CA68C6F-E3B6-46A7-A9B1-B780AB0310AB}" srcOrd="1" destOrd="0" presId="urn:microsoft.com/office/officeart/2008/layout/CircleAccentTimeline"/>
    <dgm:cxn modelId="{0E3F6F1B-063F-440C-B6CA-366C721ACDCF}" type="presParOf" srcId="{52773FDC-4772-4F97-BC48-7D43FDF59697}" destId="{2BF1D30D-A645-461B-8B53-6D37647F8F3F}" srcOrd="2" destOrd="0" presId="urn:microsoft.com/office/officeart/2008/layout/CircleAccentTimeline"/>
    <dgm:cxn modelId="{297FCCF5-7EB8-45F9-808E-3E5866EB2C7C}" type="presParOf" srcId="{1A704293-4A00-4269-9793-84EF60BB46E7}" destId="{62DE114B-FE75-4C07-93B2-1FFC0F4EA50E}" srcOrd="32" destOrd="0" presId="urn:microsoft.com/office/officeart/2008/layout/CircleAccentTimeline"/>
    <dgm:cxn modelId="{83F54F33-5782-48D4-959D-6ACA976775ED}" type="presParOf" srcId="{1A704293-4A00-4269-9793-84EF60BB46E7}" destId="{EACB1369-3186-4D39-944D-48FC110BAFF2}" srcOrd="33" destOrd="0" presId="urn:microsoft.com/office/officeart/2008/layout/CircleAccentTimeline"/>
    <dgm:cxn modelId="{AB325F4C-7583-423D-8689-ECAC1BAD0C64}" type="presParOf" srcId="{1A704293-4A00-4269-9793-84EF60BB46E7}" destId="{514ACA26-0E7A-4799-8323-8E78A018FE1A}" srcOrd="34" destOrd="0" presId="urn:microsoft.com/office/officeart/2008/layout/CircleAccentTimeline"/>
    <dgm:cxn modelId="{38FF1954-AF98-4F83-A6DA-EE449703E1CE}" type="presParOf" srcId="{1A704293-4A00-4269-9793-84EF60BB46E7}" destId="{5A25D132-820E-44C3-AAA4-0E752E0B8155}" srcOrd="35" destOrd="0" presId="urn:microsoft.com/office/officeart/2008/layout/CircleAccentTimeline"/>
    <dgm:cxn modelId="{CF02D664-E11C-4C5F-8050-0ADD1ACB6670}" type="presParOf" srcId="{5A25D132-820E-44C3-AAA4-0E752E0B8155}" destId="{B554C5DC-DEEA-4AE2-942F-B531DCD6A4BC}" srcOrd="0" destOrd="0" presId="urn:microsoft.com/office/officeart/2008/layout/CircleAccentTimeline"/>
    <dgm:cxn modelId="{DBDBB915-21CC-4869-8594-155B88064D72}" type="presParOf" srcId="{5A25D132-820E-44C3-AAA4-0E752E0B8155}" destId="{D0E61BE3-08C2-42D5-B308-61E0BFDF64D4}" srcOrd="1" destOrd="0" presId="urn:microsoft.com/office/officeart/2008/layout/CircleAccentTimeline"/>
    <dgm:cxn modelId="{A2C970B6-B677-44EF-A888-5A11A7349742}" type="presParOf" srcId="{5A25D132-820E-44C3-AAA4-0E752E0B8155}" destId="{0B76364A-724C-4D60-B742-8B2007D3D83F}" srcOrd="2" destOrd="0" presId="urn:microsoft.com/office/officeart/2008/layout/CircleAccentTimeline"/>
    <dgm:cxn modelId="{02E7A655-F1B4-42FD-BB26-D42C7BB7B72A}" type="presParOf" srcId="{1A704293-4A00-4269-9793-84EF60BB46E7}" destId="{9F886749-129F-4F94-8FDC-026B682698D1}" srcOrd="36" destOrd="0" presId="urn:microsoft.com/office/officeart/2008/layout/CircleAccentTimeline"/>
    <dgm:cxn modelId="{5AFDD4E3-DD46-450F-9256-01F3033C3CFE}" type="presParOf" srcId="{1A704293-4A00-4269-9793-84EF60BB46E7}" destId="{AA708E94-3504-4DF0-823F-FB4565134AB9}" srcOrd="37" destOrd="0" presId="urn:microsoft.com/office/officeart/2008/layout/CircleAccentTimeline"/>
    <dgm:cxn modelId="{C82B2403-1D45-48CF-9DBD-611E1D1CFB09}" type="presParOf" srcId="{1A704293-4A00-4269-9793-84EF60BB46E7}" destId="{72A47222-7749-4661-A2AF-8C4E7D69F1FD}" srcOrd="38" destOrd="0" presId="urn:microsoft.com/office/officeart/2008/layout/CircleAccentTimeline"/>
    <dgm:cxn modelId="{5ED406D5-DA03-4483-A46A-FED51436CFEF}" type="presParOf" srcId="{1A704293-4A00-4269-9793-84EF60BB46E7}" destId="{60290D84-22F4-40D2-838C-4E1970F94875}" srcOrd="39" destOrd="0" presId="urn:microsoft.com/office/officeart/2008/layout/CircleAccentTimeline"/>
    <dgm:cxn modelId="{0D86BB39-81F8-43F2-BB23-39A8F8F1C837}" type="presParOf" srcId="{60290D84-22F4-40D2-838C-4E1970F94875}" destId="{17B6CC0B-51B2-49F4-99D4-5638832F0DB8}" srcOrd="0" destOrd="0" presId="urn:microsoft.com/office/officeart/2008/layout/CircleAccentTimeline"/>
    <dgm:cxn modelId="{EE6FD556-99E9-499E-9723-608CBA1B5E53}" type="presParOf" srcId="{60290D84-22F4-40D2-838C-4E1970F94875}" destId="{D911B9EF-06FF-4EFF-B38F-46F7111F856E}" srcOrd="1" destOrd="0" presId="urn:microsoft.com/office/officeart/2008/layout/CircleAccentTimeline"/>
    <dgm:cxn modelId="{9490BD51-0365-4376-A051-D9684F81F6A3}" type="presParOf" srcId="{60290D84-22F4-40D2-838C-4E1970F94875}" destId="{9F22E223-C03C-4A17-985E-B8945A116FFF}" srcOrd="2" destOrd="0" presId="urn:microsoft.com/office/officeart/2008/layout/CircleAccentTimeline"/>
    <dgm:cxn modelId="{22FA1965-D2A5-48D7-A8F8-9BADD0209C2B}" type="presParOf" srcId="{1A704293-4A00-4269-9793-84EF60BB46E7}" destId="{98EB0A87-90C1-4AE9-8C2B-E508EB9E09A0}" srcOrd="40" destOrd="0" presId="urn:microsoft.com/office/officeart/2008/layout/CircleAccentTimeline"/>
    <dgm:cxn modelId="{083EFC64-F8E2-4BC3-8DB2-CDC642F0AD26}" type="presParOf" srcId="{1A704293-4A00-4269-9793-84EF60BB46E7}" destId="{6785AC24-B12F-4FBA-A2E1-E2791399D68A}" srcOrd="41" destOrd="0" presId="urn:microsoft.com/office/officeart/2008/layout/CircleAccentTimeline"/>
    <dgm:cxn modelId="{13A76548-CF3A-410B-A453-84DF072F64A0}" type="presParOf" srcId="{1A704293-4A00-4269-9793-84EF60BB46E7}" destId="{8B9717E1-B194-4E1F-AD43-F6D9913B20D9}" srcOrd="42" destOrd="0" presId="urn:microsoft.com/office/officeart/2008/layout/CircleAccentTimeline"/>
    <dgm:cxn modelId="{3AB59D3D-E029-4EDB-B8E8-2B6014561192}" type="presParOf" srcId="{1A704293-4A00-4269-9793-84EF60BB46E7}" destId="{38DB3036-1B7A-4FA4-BA20-6BD0F5F3ACC6}" srcOrd="43" destOrd="0" presId="urn:microsoft.com/office/officeart/2008/layout/CircleAccentTimeline"/>
    <dgm:cxn modelId="{180C26EB-E118-4ABC-9C16-09694AB15F1E}" type="presParOf" srcId="{38DB3036-1B7A-4FA4-BA20-6BD0F5F3ACC6}" destId="{D51BFFF2-4320-4695-A3BB-35020D09811E}" srcOrd="0" destOrd="0" presId="urn:microsoft.com/office/officeart/2008/layout/CircleAccentTimeline"/>
    <dgm:cxn modelId="{1F4122CF-4A55-4E3F-9652-52B4E5A15F53}" type="presParOf" srcId="{38DB3036-1B7A-4FA4-BA20-6BD0F5F3ACC6}" destId="{6467B0E9-04E2-44A1-8F25-6FA6F36F33B1}" srcOrd="1" destOrd="0" presId="urn:microsoft.com/office/officeart/2008/layout/CircleAccentTimeline"/>
    <dgm:cxn modelId="{32FF55E5-4632-4B04-9450-7C7794BB3983}" type="presParOf" srcId="{38DB3036-1B7A-4FA4-BA20-6BD0F5F3ACC6}" destId="{BD4CC4AC-B4AD-4C64-819F-6D2E8601042C}" srcOrd="2" destOrd="0" presId="urn:microsoft.com/office/officeart/2008/layout/CircleAccentTimeline"/>
    <dgm:cxn modelId="{BCBB2F55-279B-4D4B-830E-B36A314E520F}" type="presParOf" srcId="{1A704293-4A00-4269-9793-84EF60BB46E7}" destId="{71D3FCE5-CB84-40A1-BF7B-4B6E47785EA7}" srcOrd="44" destOrd="0" presId="urn:microsoft.com/office/officeart/2008/layout/CircleAccentTimeline"/>
    <dgm:cxn modelId="{DE1CCBCE-4EBA-4BCC-9561-50DE26D5E2AF}" type="presParOf" srcId="{1A704293-4A00-4269-9793-84EF60BB46E7}" destId="{F93B194F-43C5-4B38-A4C0-5BF32D52ED05}" srcOrd="45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45A92D2-858E-4F1C-A841-FCC41F6BAE1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42E80D9D-55B0-4802-A0E5-4D02CF358B20}" type="parTrans" cxnId="{93AA97E0-DDA1-409D-A408-BE2D9768E2FD}">
      <dgm:prSet/>
      <dgm:spPr/>
      <dgm:t>
        <a:bodyPr/>
        <a:lstStyle/>
        <a:p>
          <a:endParaRPr lang="pt-BR"/>
        </a:p>
      </dgm:t>
    </dgm:pt>
    <dgm:pt modelId="{8BB256DD-2F5D-437A-B315-5C0A529645DA}" type="sibTrans" cxnId="{93AA97E0-DDA1-409D-A408-BE2D9768E2FD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08439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BCA014BD-C38E-46FF-A29D-BD8B511B1E5E}" type="pres">
      <dgm:prSet presAssocID="{A45A92D2-858E-4F1C-A841-FCC41F6BAE18}" presName="parTxOnly" presStyleLbl="node1" presStyleIdx="1" presStyleCnt="2" custScaleX="1369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03843AC6-7CEB-40E6-B0F6-49680014AA85}" type="presOf" srcId="{22C8004B-A441-4F06-B14F-E6072A253398}" destId="{3014A0A9-B888-44B6-87FD-3FA34B8C82C9}" srcOrd="0" destOrd="0" presId="urn:microsoft.com/office/officeart/2005/8/layout/chevron1"/>
    <dgm:cxn modelId="{1C4F2386-902C-4BE1-B3CD-0E7FD4A35ACB}" type="presOf" srcId="{A45A92D2-858E-4F1C-A841-FCC41F6BAE18}" destId="{BCA014BD-C38E-46FF-A29D-BD8B511B1E5E}" srcOrd="0" destOrd="0" presId="urn:microsoft.com/office/officeart/2005/8/layout/chevron1"/>
    <dgm:cxn modelId="{F01E4478-2209-459B-8DBB-B7DDDFDECB7F}" type="presOf" srcId="{A5C9D6BD-7705-41D0-896B-39382DEF9DAB}" destId="{186D22AC-C516-4D8C-AE22-0C650918D950}" srcOrd="0" destOrd="0" presId="urn:microsoft.com/office/officeart/2005/8/layout/chevron1"/>
    <dgm:cxn modelId="{93AA97E0-DDA1-409D-A408-BE2D9768E2FD}" srcId="{22C8004B-A441-4F06-B14F-E6072A253398}" destId="{A45A92D2-858E-4F1C-A841-FCC41F6BAE18}" srcOrd="1" destOrd="0" parTransId="{42E80D9D-55B0-4802-A0E5-4D02CF358B20}" sibTransId="{8BB256DD-2F5D-437A-B315-5C0A529645DA}"/>
    <dgm:cxn modelId="{C417B453-9C5F-4FA7-B0D6-784CE76C31C5}" type="presParOf" srcId="{3014A0A9-B888-44B6-87FD-3FA34B8C82C9}" destId="{186D22AC-C516-4D8C-AE22-0C650918D950}" srcOrd="0" destOrd="0" presId="urn:microsoft.com/office/officeart/2005/8/layout/chevron1"/>
    <dgm:cxn modelId="{9D86FA45-6D8D-4E5F-AC44-1B101FADF2E9}" type="presParOf" srcId="{3014A0A9-B888-44B6-87FD-3FA34B8C82C9}" destId="{47E3C63A-3CC1-478C-B991-43B301263277}" srcOrd="1" destOrd="0" presId="urn:microsoft.com/office/officeart/2005/8/layout/chevron1"/>
    <dgm:cxn modelId="{38CA3BFC-F758-4E5C-BA10-F42A983D479F}" type="presParOf" srcId="{3014A0A9-B888-44B6-87FD-3FA34B8C82C9}" destId="{BCA014BD-C38E-46FF-A29D-BD8B511B1E5E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336337-2256-44E8-BEDF-0D21DDDF7D43}" type="doc">
      <dgm:prSet loTypeId="urn:microsoft.com/office/officeart/2005/8/layout/process3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pt-BR"/>
        </a:p>
      </dgm:t>
    </dgm:pt>
    <dgm:pt modelId="{C2C72F27-2098-4705-897B-44A484D718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2 :: Motor de regras e TV </a:t>
          </a:r>
          <a:r>
            <a:rPr lang="pt-BR" dirty="0" err="1" smtClean="0">
              <a:latin typeface="Simplon BP Regular" pitchFamily="2" charset="0"/>
            </a:rPr>
            <a:t>Offline</a:t>
          </a:r>
          <a:endParaRPr lang="pt-BR" dirty="0">
            <a:latin typeface="Simplon BP Regular" pitchFamily="2" charset="0"/>
          </a:endParaRPr>
        </a:p>
      </dgm:t>
    </dgm:pt>
    <dgm:pt modelId="{26C3E0B6-A821-44F0-817F-B3112DA2B3BB}" type="parTrans" cxnId="{A25F2DD5-DA7A-491C-8F74-9FC277617AC1}">
      <dgm:prSet/>
      <dgm:spPr/>
      <dgm:t>
        <a:bodyPr/>
        <a:lstStyle/>
        <a:p>
          <a:endParaRPr lang="pt-BR"/>
        </a:p>
      </dgm:t>
    </dgm:pt>
    <dgm:pt modelId="{8502707A-B1C2-4D59-9033-D39348DDF64B}" type="sibTrans" cxnId="{A25F2DD5-DA7A-491C-8F74-9FC277617AC1}">
      <dgm:prSet/>
      <dgm:spPr/>
      <dgm:t>
        <a:bodyPr/>
        <a:lstStyle/>
        <a:p>
          <a:endParaRPr lang="pt-BR"/>
        </a:p>
      </dgm:t>
    </dgm:pt>
    <dgm:pt modelId="{4846EA97-7DB8-48BE-968E-AE939301B3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dirty="0">
            <a:latin typeface="Simplon BP Regular" pitchFamily="2" charset="0"/>
          </a:endParaRPr>
        </a:p>
      </dgm:t>
    </dgm:pt>
    <dgm:pt modelId="{EDADC7B2-04EB-40FD-9C04-09E7DDC39AC3}" type="parTrans" cxnId="{3D313CED-A70C-44DD-B549-E7FA4E8AB806}">
      <dgm:prSet/>
      <dgm:spPr/>
      <dgm:t>
        <a:bodyPr/>
        <a:lstStyle/>
        <a:p>
          <a:endParaRPr lang="pt-BR"/>
        </a:p>
      </dgm:t>
    </dgm:pt>
    <dgm:pt modelId="{8A9A6569-8BBF-4269-A1A7-E3AD9BF33B42}" type="sibTrans" cxnId="{3D313CED-A70C-44DD-B549-E7FA4E8AB806}">
      <dgm:prSet/>
      <dgm:spPr/>
      <dgm:t>
        <a:bodyPr/>
        <a:lstStyle/>
        <a:p>
          <a:endParaRPr lang="pt-BR"/>
        </a:p>
      </dgm:t>
    </dgm:pt>
    <dgm:pt modelId="{12CB4909-2A43-44E2-B35A-56AF72E51FC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3 ::Oi Total 2P+Fixa R1 1P+Transact Online</a:t>
          </a:r>
          <a:endParaRPr lang="pt-BR" dirty="0">
            <a:latin typeface="Simplon BP Regular" pitchFamily="2" charset="0"/>
          </a:endParaRPr>
        </a:p>
      </dgm:t>
    </dgm:pt>
    <dgm:pt modelId="{37F5E0F4-6E7B-42B3-8E6D-BD60485A5D26}" type="parTrans" cxnId="{0C31D8A5-6F15-4CE5-AA7A-F82E294AC01E}">
      <dgm:prSet/>
      <dgm:spPr/>
      <dgm:t>
        <a:bodyPr/>
        <a:lstStyle/>
        <a:p>
          <a:endParaRPr lang="pt-BR"/>
        </a:p>
      </dgm:t>
    </dgm:pt>
    <dgm:pt modelId="{9AE66A17-1F47-4431-8CB9-F8C13BD797CB}" type="sibTrans" cxnId="{0C31D8A5-6F15-4CE5-AA7A-F82E294AC01E}">
      <dgm:prSet/>
      <dgm:spPr/>
      <dgm:t>
        <a:bodyPr/>
        <a:lstStyle/>
        <a:p>
          <a:endParaRPr lang="pt-BR"/>
        </a:p>
      </dgm:t>
    </dgm:pt>
    <dgm:pt modelId="{302DE5A1-9305-4288-8145-35C00CDFD2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4/5/6 ::: Oi Total 3P online + Móvel </a:t>
          </a:r>
          <a:r>
            <a:rPr lang="pt-BR" dirty="0" err="1" smtClean="0">
              <a:latin typeface="Simplon BP Regular" pitchFamily="2" charset="0"/>
            </a:rPr>
            <a:t>alone</a:t>
          </a:r>
          <a:endParaRPr lang="pt-BR" dirty="0">
            <a:latin typeface="Simplon BP Regular" pitchFamily="2" charset="0"/>
          </a:endParaRPr>
        </a:p>
      </dgm:t>
    </dgm:pt>
    <dgm:pt modelId="{CA4359B9-91F3-41AA-947E-AD0FDCE8C5B5}" type="parTrans" cxnId="{35D7E0A1-04C5-445B-9F1D-5C9BEC6DEAB4}">
      <dgm:prSet/>
      <dgm:spPr/>
      <dgm:t>
        <a:bodyPr/>
        <a:lstStyle/>
        <a:p>
          <a:endParaRPr lang="pt-BR"/>
        </a:p>
      </dgm:t>
    </dgm:pt>
    <dgm:pt modelId="{CB4B2F89-B4FE-40EB-BC37-AEB462AA98B0}" type="sibTrans" cxnId="{35D7E0A1-04C5-445B-9F1D-5C9BEC6DEAB4}">
      <dgm:prSet/>
      <dgm:spPr/>
      <dgm:t>
        <a:bodyPr/>
        <a:lstStyle/>
        <a:p>
          <a:endParaRPr lang="pt-BR"/>
        </a:p>
      </dgm:t>
    </dgm:pt>
    <dgm:pt modelId="{F0D0770F-A077-4DE0-BC78-EEA99C7D8E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Regras de prevenção Oi Total</a:t>
          </a:r>
          <a:endParaRPr lang="pt-BR" dirty="0">
            <a:latin typeface="Simplon BP Regular" pitchFamily="2" charset="0"/>
          </a:endParaRPr>
        </a:p>
      </dgm:t>
    </dgm:pt>
    <dgm:pt modelId="{C8C8D0C3-A9AE-48C1-84F1-D9964E1F266E}" type="parTrans" cxnId="{3E9101B6-941B-4C05-9038-ABFBCBBF57BD}">
      <dgm:prSet/>
      <dgm:spPr/>
      <dgm:t>
        <a:bodyPr/>
        <a:lstStyle/>
        <a:p>
          <a:endParaRPr lang="pt-BR"/>
        </a:p>
      </dgm:t>
    </dgm:pt>
    <dgm:pt modelId="{E5EA5A63-92BF-494C-8F16-A0B0E2F33673}" type="sibTrans" cxnId="{3E9101B6-941B-4C05-9038-ABFBCBBF57BD}">
      <dgm:prSet/>
      <dgm:spPr/>
      <dgm:t>
        <a:bodyPr/>
        <a:lstStyle/>
        <a:p>
          <a:endParaRPr lang="pt-BR"/>
        </a:p>
      </dgm:t>
    </dgm:pt>
    <dgm:pt modelId="{C94E3FC6-C289-4D27-BDA5-878C8C3899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online e anomalias, score e recomendação de vendas</a:t>
          </a:r>
          <a:endParaRPr lang="pt-BR" dirty="0">
            <a:latin typeface="Simplon BP Regular" pitchFamily="2" charset="0"/>
          </a:endParaRPr>
        </a:p>
      </dgm:t>
    </dgm:pt>
    <dgm:pt modelId="{23BF5F5E-C41E-4821-8BC7-C1018D4C1BDA}" type="parTrans" cxnId="{CC54C0CC-E41A-4D01-9845-B3670B47675A}">
      <dgm:prSet/>
      <dgm:spPr/>
      <dgm:t>
        <a:bodyPr/>
        <a:lstStyle/>
        <a:p>
          <a:endParaRPr lang="pt-BR"/>
        </a:p>
      </dgm:t>
    </dgm:pt>
    <dgm:pt modelId="{3A7B6112-F0A8-43F3-A966-65887EC76C22}" type="sibTrans" cxnId="{CC54C0CC-E41A-4D01-9845-B3670B47675A}">
      <dgm:prSet/>
      <dgm:spPr/>
      <dgm:t>
        <a:bodyPr/>
        <a:lstStyle/>
        <a:p>
          <a:endParaRPr lang="pt-BR"/>
        </a:p>
      </dgm:t>
    </dgm:pt>
    <dgm:pt modelId="{36E9CBAE-C3D4-4953-B6E3-63441700CB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ortal alarmes, gestão de regras e relatórios</a:t>
          </a:r>
          <a:endParaRPr lang="pt-BR" dirty="0">
            <a:latin typeface="Simplon BP Regular" pitchFamily="2" charset="0"/>
          </a:endParaRPr>
        </a:p>
      </dgm:t>
    </dgm:pt>
    <dgm:pt modelId="{4DA2C8F3-BE29-4A76-B7F5-E9AA9E02884D}" type="parTrans" cxnId="{E9C86F46-4C4E-4107-96E8-D3B28ACD0E72}">
      <dgm:prSet/>
      <dgm:spPr/>
      <dgm:t>
        <a:bodyPr/>
        <a:lstStyle/>
        <a:p>
          <a:endParaRPr lang="pt-BR"/>
        </a:p>
      </dgm:t>
    </dgm:pt>
    <dgm:pt modelId="{1A889ECF-A9E8-44F5-B027-C75A21738FE5}" type="sibTrans" cxnId="{E9C86F46-4C4E-4107-96E8-D3B28ACD0E72}">
      <dgm:prSet/>
      <dgm:spPr/>
      <dgm:t>
        <a:bodyPr/>
        <a:lstStyle/>
        <a:p>
          <a:endParaRPr lang="pt-BR"/>
        </a:p>
      </dgm:t>
    </dgm:pt>
    <dgm:pt modelId="{26F965D3-4640-4AB4-ADB9-0D104A97D8C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score externo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ou Serasa</a:t>
          </a:r>
          <a:endParaRPr lang="pt-BR" dirty="0">
            <a:latin typeface="Simplon BP Regular" pitchFamily="2" charset="0"/>
          </a:endParaRPr>
        </a:p>
      </dgm:t>
    </dgm:pt>
    <dgm:pt modelId="{30C9086A-A873-4779-A238-8CE3847D3EB8}" type="parTrans" cxnId="{0EBFDC31-E8D9-4DE9-8B18-5890833504F1}">
      <dgm:prSet/>
      <dgm:spPr/>
      <dgm:t>
        <a:bodyPr/>
        <a:lstStyle/>
        <a:p>
          <a:endParaRPr lang="pt-BR"/>
        </a:p>
      </dgm:t>
    </dgm:pt>
    <dgm:pt modelId="{0635CFA3-0257-42E1-BBFD-28DB9E3E6678}" type="sibTrans" cxnId="{0EBFDC31-E8D9-4DE9-8B18-5890833504F1}">
      <dgm:prSet/>
      <dgm:spPr/>
      <dgm:t>
        <a:bodyPr/>
        <a:lstStyle/>
        <a:p>
          <a:endParaRPr lang="pt-BR"/>
        </a:p>
      </dgm:t>
    </dgm:pt>
    <dgm:pt modelId="{1DD5C18E-B868-4531-9FB3-788818551E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barramento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AD2AB023-1E06-42F9-BD37-A01244CA9093}" type="parTrans" cxnId="{085574B6-9994-4F3B-BBD9-DCA4CBCBAF23}">
      <dgm:prSet/>
      <dgm:spPr/>
      <dgm:t>
        <a:bodyPr/>
        <a:lstStyle/>
        <a:p>
          <a:endParaRPr lang="pt-BR"/>
        </a:p>
      </dgm:t>
    </dgm:pt>
    <dgm:pt modelId="{59BFA716-AF06-46C0-8D74-B95BEFDE6368}" type="sibTrans" cxnId="{085574B6-9994-4F3B-BBD9-DCA4CBCBAF23}">
      <dgm:prSet/>
      <dgm:spPr/>
      <dgm:t>
        <a:bodyPr/>
        <a:lstStyle/>
        <a:p>
          <a:endParaRPr lang="pt-BR"/>
        </a:p>
      </dgm:t>
    </dgm:pt>
    <dgm:pt modelId="{5C263B98-60F2-4779-8B13-6AF88961101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online Propostas </a:t>
          </a:r>
          <a:r>
            <a:rPr lang="pt-BR" dirty="0" err="1" smtClean="0"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A93B9210-4A2D-4CE7-83FE-DD90DCB2295A}" type="parTrans" cxnId="{978E946A-669B-40F4-8D64-719AB167FD00}">
      <dgm:prSet/>
      <dgm:spPr/>
      <dgm:t>
        <a:bodyPr/>
        <a:lstStyle/>
        <a:p>
          <a:endParaRPr lang="pt-BR"/>
        </a:p>
      </dgm:t>
    </dgm:pt>
    <dgm:pt modelId="{256FE086-F048-4C9B-BAEB-6B96DBFFDB23}" type="sibTrans" cxnId="{978E946A-669B-40F4-8D64-719AB167FD00}">
      <dgm:prSet/>
      <dgm:spPr/>
      <dgm:t>
        <a:bodyPr/>
        <a:lstStyle/>
        <a:p>
          <a:endParaRPr lang="pt-BR"/>
        </a:p>
      </dgm:t>
    </dgm:pt>
    <dgm:pt modelId="{7497085F-1912-4C01-A4D4-E5ADB4FDFA7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analítico de regras (pesos)</a:t>
          </a:r>
          <a:endParaRPr lang="pt-BR" dirty="0">
            <a:latin typeface="Simplon BP Regular" pitchFamily="2" charset="0"/>
          </a:endParaRPr>
        </a:p>
      </dgm:t>
    </dgm:pt>
    <dgm:pt modelId="{C0BD48C7-0A1A-4809-88A2-E57957AA8B90}" type="parTrans" cxnId="{3F4A5409-AEEE-4507-B95B-6ADC9E7648B7}">
      <dgm:prSet/>
      <dgm:spPr/>
      <dgm:t>
        <a:bodyPr/>
        <a:lstStyle/>
        <a:p>
          <a:endParaRPr lang="pt-BR"/>
        </a:p>
      </dgm:t>
    </dgm:pt>
    <dgm:pt modelId="{720DB68A-5BFA-4D7C-984A-5AD89AA1AEDF}" type="sibTrans" cxnId="{3F4A5409-AEEE-4507-B95B-6ADC9E7648B7}">
      <dgm:prSet/>
      <dgm:spPr/>
      <dgm:t>
        <a:bodyPr/>
        <a:lstStyle/>
        <a:p>
          <a:endParaRPr lang="pt-BR"/>
        </a:p>
      </dgm:t>
    </dgm:pt>
    <dgm:pt modelId="{00772AB7-786C-4923-B1AB-A4A46705A80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delos estatísticos avançados </a:t>
          </a:r>
          <a:endParaRPr lang="pt-BR" dirty="0">
            <a:latin typeface="Simplon BP Regular" pitchFamily="2" charset="0"/>
          </a:endParaRPr>
        </a:p>
      </dgm:t>
    </dgm:pt>
    <dgm:pt modelId="{793E2295-A697-4103-A667-629DD940D007}" type="parTrans" cxnId="{183E5C24-6DE5-4FF1-976C-ECAD7436E4B4}">
      <dgm:prSet/>
      <dgm:spPr/>
      <dgm:t>
        <a:bodyPr/>
        <a:lstStyle/>
        <a:p>
          <a:endParaRPr lang="pt-BR"/>
        </a:p>
      </dgm:t>
    </dgm:pt>
    <dgm:pt modelId="{F9B67195-2A1B-4648-929B-4DF30F7F3A88}" type="sibTrans" cxnId="{183E5C24-6DE5-4FF1-976C-ECAD7436E4B4}">
      <dgm:prSet/>
      <dgm:spPr/>
      <dgm:t>
        <a:bodyPr/>
        <a:lstStyle/>
        <a:p>
          <a:endParaRPr lang="pt-BR"/>
        </a:p>
      </dgm:t>
    </dgm:pt>
    <dgm:pt modelId="{76E17EC1-61E0-46E4-8B53-89060745353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7.1/7.2 :: CRM,  Recargas e Inadimplência</a:t>
          </a:r>
          <a:endParaRPr lang="pt-BR" dirty="0">
            <a:latin typeface="Simplon BP Regular" pitchFamily="2" charset="0"/>
          </a:endParaRPr>
        </a:p>
      </dgm:t>
    </dgm:pt>
    <dgm:pt modelId="{B35EE708-5CEA-4D5B-8E7C-BC0764F18771}" type="parTrans" cxnId="{CC0B4A5C-A457-413E-A76F-063792EF05F5}">
      <dgm:prSet/>
      <dgm:spPr/>
      <dgm:t>
        <a:bodyPr/>
        <a:lstStyle/>
        <a:p>
          <a:endParaRPr lang="pt-BR"/>
        </a:p>
      </dgm:t>
    </dgm:pt>
    <dgm:pt modelId="{165B1D6C-9FBC-4CBF-B710-56ECBB6AA444}" type="sibTrans" cxnId="{CC0B4A5C-A457-413E-A76F-063792EF05F5}">
      <dgm:prSet/>
      <dgm:spPr/>
      <dgm:t>
        <a:bodyPr/>
        <a:lstStyle/>
        <a:p>
          <a:endParaRPr lang="pt-BR"/>
        </a:p>
      </dgm:t>
    </dgm:pt>
    <dgm:pt modelId="{09414BD5-A087-4886-AECE-882B04D4071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do Portal de alarmes e novos relatórios</a:t>
          </a:r>
          <a:endParaRPr lang="pt-BR" dirty="0">
            <a:latin typeface="Simplon BP Regular" pitchFamily="2" charset="0"/>
          </a:endParaRPr>
        </a:p>
      </dgm:t>
    </dgm:pt>
    <dgm:pt modelId="{CC02299A-3AFA-4908-AA4A-B6F1363571C7}" type="parTrans" cxnId="{EF1CF241-3A53-4AAF-97D4-44236F24F509}">
      <dgm:prSet/>
      <dgm:spPr/>
      <dgm:t>
        <a:bodyPr/>
        <a:lstStyle/>
        <a:p>
          <a:endParaRPr lang="pt-BR"/>
        </a:p>
      </dgm:t>
    </dgm:pt>
    <dgm:pt modelId="{512FBC37-751F-4A13-862F-0AAFD2D6AB1B}" type="sibTrans" cxnId="{EF1CF241-3A53-4AAF-97D4-44236F24F509}">
      <dgm:prSet/>
      <dgm:spPr/>
      <dgm:t>
        <a:bodyPr/>
        <a:lstStyle/>
        <a:p>
          <a:endParaRPr lang="pt-BR"/>
        </a:p>
      </dgm:t>
    </dgm:pt>
    <dgm:pt modelId="{DC72F786-5F58-4327-BF53-BC67B4DB65B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Portal de alarmes e novos relatórios</a:t>
          </a:r>
          <a:endParaRPr lang="pt-BR" dirty="0">
            <a:latin typeface="Simplon BP Regular" pitchFamily="2" charset="0"/>
          </a:endParaRPr>
        </a:p>
      </dgm:t>
    </dgm:pt>
    <dgm:pt modelId="{B2EC95E4-9AA7-4231-A7DC-ADAB6D1BEF66}" type="parTrans" cxnId="{2FC4AAD4-DD9D-4701-92C5-DCFB328A1377}">
      <dgm:prSet/>
      <dgm:spPr/>
      <dgm:t>
        <a:bodyPr/>
        <a:lstStyle/>
        <a:p>
          <a:endParaRPr lang="pt-BR"/>
        </a:p>
      </dgm:t>
    </dgm:pt>
    <dgm:pt modelId="{A4739F22-E57C-4250-BB17-FE354432370B}" type="sibTrans" cxnId="{2FC4AAD4-DD9D-4701-92C5-DCFB328A1377}">
      <dgm:prSet/>
      <dgm:spPr/>
      <dgm:t>
        <a:bodyPr/>
        <a:lstStyle/>
        <a:p>
          <a:endParaRPr lang="pt-BR"/>
        </a:p>
      </dgm:t>
    </dgm:pt>
    <dgm:pt modelId="{1A2EF02F-5CE5-465B-A963-5EB32309EBE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8/9 :: Oi Fibra e Telas Operação de Crédito</a:t>
          </a:r>
          <a:endParaRPr lang="pt-BR" dirty="0">
            <a:latin typeface="Simplon BP Regular" pitchFamily="2" charset="0"/>
          </a:endParaRPr>
        </a:p>
      </dgm:t>
    </dgm:pt>
    <dgm:pt modelId="{65EEFFFA-6400-4581-A8DA-70907EFFC537}" type="parTrans" cxnId="{AA2D662A-CD4F-424B-8197-3CD35128AEE0}">
      <dgm:prSet/>
      <dgm:spPr/>
      <dgm:t>
        <a:bodyPr/>
        <a:lstStyle/>
        <a:p>
          <a:endParaRPr lang="pt-BR"/>
        </a:p>
      </dgm:t>
    </dgm:pt>
    <dgm:pt modelId="{E8D971C7-0392-434A-9A87-51DDEE9B0DE4}" type="sibTrans" cxnId="{AA2D662A-CD4F-424B-8197-3CD35128AEE0}">
      <dgm:prSet/>
      <dgm:spPr/>
      <dgm:t>
        <a:bodyPr/>
        <a:lstStyle/>
        <a:p>
          <a:endParaRPr lang="pt-BR"/>
        </a:p>
      </dgm:t>
    </dgm:pt>
    <dgm:pt modelId="{359F2D02-C5C3-433F-B152-DB252EAF9EB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10 :: Oi Controle sem fatura</a:t>
          </a:r>
          <a:endParaRPr lang="pt-BR" dirty="0">
            <a:latin typeface="Simplon BP Regular" pitchFamily="2" charset="0"/>
          </a:endParaRPr>
        </a:p>
      </dgm:t>
    </dgm:pt>
    <dgm:pt modelId="{7739E33E-9BF7-4D26-9646-FD697AF213DF}" type="parTrans" cxnId="{C51AA022-69F5-4BAD-9028-1974E0007035}">
      <dgm:prSet/>
      <dgm:spPr/>
      <dgm:t>
        <a:bodyPr/>
        <a:lstStyle/>
        <a:p>
          <a:endParaRPr lang="pt-BR"/>
        </a:p>
      </dgm:t>
    </dgm:pt>
    <dgm:pt modelId="{CA5E9195-A7FA-4C06-A040-5A3F6AC6195E}" type="sibTrans" cxnId="{C51AA022-69F5-4BAD-9028-1974E0007035}">
      <dgm:prSet/>
      <dgm:spPr/>
      <dgm:t>
        <a:bodyPr/>
        <a:lstStyle/>
        <a:p>
          <a:endParaRPr lang="pt-BR"/>
        </a:p>
      </dgm:t>
    </dgm:pt>
    <dgm:pt modelId="{66C40F82-130A-49FF-AD6B-EE4F27545FD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o telefone de contato e endereço confiável</a:t>
          </a:r>
          <a:endParaRPr lang="pt-BR" dirty="0">
            <a:latin typeface="Simplon BP Regular" pitchFamily="2" charset="0"/>
          </a:endParaRPr>
        </a:p>
      </dgm:t>
    </dgm:pt>
    <dgm:pt modelId="{C30E21D3-F872-40D0-97B0-B3D6776247A9}" type="parTrans" cxnId="{6BC88701-1ED1-47AF-957D-D1BA3897BEF1}">
      <dgm:prSet/>
      <dgm:spPr/>
      <dgm:t>
        <a:bodyPr/>
        <a:lstStyle/>
        <a:p>
          <a:endParaRPr lang="pt-BR"/>
        </a:p>
      </dgm:t>
    </dgm:pt>
    <dgm:pt modelId="{FC6AE096-41F9-4885-9F28-761EC0E9145D}" type="sibTrans" cxnId="{6BC88701-1ED1-47AF-957D-D1BA3897BEF1}">
      <dgm:prSet/>
      <dgm:spPr/>
      <dgm:t>
        <a:bodyPr/>
        <a:lstStyle/>
        <a:p>
          <a:endParaRPr lang="pt-BR"/>
        </a:p>
      </dgm:t>
    </dgm:pt>
    <dgm:pt modelId="{7ACBBFF4-2C87-4804-9EE0-EDEEC39B4EE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DW cadastro</a:t>
          </a:r>
          <a:endParaRPr lang="pt-BR" dirty="0">
            <a:latin typeface="Simplon BP Regular" pitchFamily="2" charset="0"/>
          </a:endParaRPr>
        </a:p>
      </dgm:t>
    </dgm:pt>
    <dgm:pt modelId="{9A7F849B-E31F-4D0F-B641-AE0ED0AD9A2F}" type="parTrans" cxnId="{EE8E3E0B-E9E3-48BA-A584-C63BA77CD843}">
      <dgm:prSet/>
      <dgm:spPr/>
      <dgm:t>
        <a:bodyPr/>
        <a:lstStyle/>
        <a:p>
          <a:endParaRPr lang="pt-BR"/>
        </a:p>
      </dgm:t>
    </dgm:pt>
    <dgm:pt modelId="{AD0976AD-5CAF-42C4-A521-7F6E55F6A40B}" type="sibTrans" cxnId="{EE8E3E0B-E9E3-48BA-A584-C63BA77CD843}">
      <dgm:prSet/>
      <dgm:spPr/>
      <dgm:t>
        <a:bodyPr/>
        <a:lstStyle/>
        <a:p>
          <a:endParaRPr lang="pt-BR"/>
        </a:p>
      </dgm:t>
    </dgm:pt>
    <dgm:pt modelId="{0822EE73-6FCB-4401-8002-B8A72B03ED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dirty="0" err="1" smtClean="0">
              <a:latin typeface="Simplon BP Regular" pitchFamily="2" charset="0"/>
            </a:rPr>
            <a:t>full</a:t>
          </a:r>
          <a:r>
            <a:rPr lang="pt-BR" dirty="0" smtClean="0">
              <a:latin typeface="Simplon BP Regular" pitchFamily="2" charset="0"/>
            </a:rPr>
            <a:t> </a:t>
          </a:r>
          <a:endParaRPr lang="pt-BR" dirty="0">
            <a:latin typeface="Simplon BP Regular" pitchFamily="2" charset="0"/>
          </a:endParaRPr>
        </a:p>
      </dgm:t>
    </dgm:pt>
    <dgm:pt modelId="{29E39213-BE61-4F6C-B189-20D8D47366B6}" type="parTrans" cxnId="{73D6921D-BE0A-4848-ADC7-3C27D81EF3DA}">
      <dgm:prSet/>
      <dgm:spPr/>
      <dgm:t>
        <a:bodyPr/>
        <a:lstStyle/>
        <a:p>
          <a:endParaRPr lang="pt-BR"/>
        </a:p>
      </dgm:t>
    </dgm:pt>
    <dgm:pt modelId="{8D6E3A77-2292-41AB-9347-F03632B5A2C6}" type="sibTrans" cxnId="{73D6921D-BE0A-4848-ADC7-3C27D81EF3DA}">
      <dgm:prSet/>
      <dgm:spPr/>
      <dgm:t>
        <a:bodyPr/>
        <a:lstStyle/>
        <a:p>
          <a:endParaRPr lang="pt-BR"/>
        </a:p>
      </dgm:t>
    </dgm:pt>
    <dgm:pt modelId="{7EFB80DE-C3E0-4664-8DE5-7967BD82D9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31Global</a:t>
          </a:r>
          <a:endParaRPr lang="pt-BR" dirty="0">
            <a:latin typeface="Simplon BP Regular" pitchFamily="2" charset="0"/>
          </a:endParaRPr>
        </a:p>
      </dgm:t>
    </dgm:pt>
    <dgm:pt modelId="{B442FF71-C8B8-4920-A966-01469A2E1B79}" type="parTrans" cxnId="{808D2B1E-7692-421F-A87C-608A59D28967}">
      <dgm:prSet/>
      <dgm:spPr/>
      <dgm:t>
        <a:bodyPr/>
        <a:lstStyle/>
        <a:p>
          <a:endParaRPr lang="pt-BR"/>
        </a:p>
      </dgm:t>
    </dgm:pt>
    <dgm:pt modelId="{A0E7CB7A-4C14-4A8C-BFE1-49276ACD55CD}" type="sibTrans" cxnId="{808D2B1E-7692-421F-A87C-608A59D28967}">
      <dgm:prSet/>
      <dgm:spPr/>
      <dgm:t>
        <a:bodyPr/>
        <a:lstStyle/>
        <a:p>
          <a:endParaRPr lang="pt-BR"/>
        </a:p>
      </dgm:t>
    </dgm:pt>
    <dgm:pt modelId="{D0966F0B-6A79-4570-96B0-1869F96AAE6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e vendas</a:t>
          </a:r>
          <a:endParaRPr lang="pt-BR" dirty="0">
            <a:latin typeface="Simplon BP Regular" pitchFamily="2" charset="0"/>
          </a:endParaRPr>
        </a:p>
      </dgm:t>
    </dgm:pt>
    <dgm:pt modelId="{6539CD5A-27C4-41EB-9CCB-5FAF3FC14A61}" type="parTrans" cxnId="{DA95AA11-7F3A-4781-ACFB-B197279057EE}">
      <dgm:prSet/>
      <dgm:spPr/>
      <dgm:t>
        <a:bodyPr/>
        <a:lstStyle/>
        <a:p>
          <a:endParaRPr lang="pt-BR"/>
        </a:p>
      </dgm:t>
    </dgm:pt>
    <dgm:pt modelId="{F35F56E9-F1F1-4016-A37F-AB6441AE16AA}" type="sibTrans" cxnId="{DA95AA11-7F3A-4781-ACFB-B197279057EE}">
      <dgm:prSet/>
      <dgm:spPr/>
      <dgm:t>
        <a:bodyPr/>
        <a:lstStyle/>
        <a:p>
          <a:endParaRPr lang="pt-BR"/>
        </a:p>
      </dgm:t>
    </dgm:pt>
    <dgm:pt modelId="{C5674ACE-2BBD-4A67-B860-7F29C760F2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recargas de pré-pago</a:t>
          </a:r>
          <a:endParaRPr lang="pt-BR" dirty="0">
            <a:latin typeface="Simplon BP Regular" pitchFamily="2" charset="0"/>
          </a:endParaRPr>
        </a:p>
      </dgm:t>
    </dgm:pt>
    <dgm:pt modelId="{9F501CD1-238B-4E06-BEE5-7FECA3329570}" type="parTrans" cxnId="{A5B78FC1-1B9B-4D03-A13F-67730B713DF9}">
      <dgm:prSet/>
      <dgm:spPr/>
      <dgm:t>
        <a:bodyPr/>
        <a:lstStyle/>
        <a:p>
          <a:endParaRPr lang="pt-BR"/>
        </a:p>
      </dgm:t>
    </dgm:pt>
    <dgm:pt modelId="{5BC61835-A186-4E70-8237-19DDB13A1FF6}" type="sibTrans" cxnId="{A5B78FC1-1B9B-4D03-A13F-67730B713DF9}">
      <dgm:prSet/>
      <dgm:spPr/>
      <dgm:t>
        <a:bodyPr/>
        <a:lstStyle/>
        <a:p>
          <a:endParaRPr lang="pt-BR"/>
        </a:p>
      </dgm:t>
    </dgm:pt>
    <dgm:pt modelId="{506D527F-0F36-45BC-8ACE-853B43AEE5B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score de migração </a:t>
          </a:r>
          <a:r>
            <a:rPr lang="pt-BR" dirty="0" err="1" smtClean="0">
              <a:latin typeface="Simplon BP Regular" pitchFamily="2" charset="0"/>
            </a:rPr>
            <a:t>pré-pós</a:t>
          </a:r>
          <a:endParaRPr lang="pt-BR" dirty="0">
            <a:latin typeface="Simplon BP Regular" pitchFamily="2" charset="0"/>
          </a:endParaRPr>
        </a:p>
      </dgm:t>
    </dgm:pt>
    <dgm:pt modelId="{F2BCEA8A-1912-4E6C-8B9B-F80E4BACB27A}" type="parTrans" cxnId="{C0BE8AE5-8CF0-4EAE-898B-7B66E92E8594}">
      <dgm:prSet/>
      <dgm:spPr/>
      <dgm:t>
        <a:bodyPr/>
        <a:lstStyle/>
        <a:p>
          <a:endParaRPr lang="pt-BR"/>
        </a:p>
      </dgm:t>
    </dgm:pt>
    <dgm:pt modelId="{B60A61C2-4EB5-483C-9867-CECF2B85DF75}" type="sibTrans" cxnId="{C0BE8AE5-8CF0-4EAE-898B-7B66E92E8594}">
      <dgm:prSet/>
      <dgm:spPr/>
      <dgm:t>
        <a:bodyPr/>
        <a:lstStyle/>
        <a:p>
          <a:endParaRPr lang="pt-BR"/>
        </a:p>
      </dgm:t>
    </dgm:pt>
    <dgm:pt modelId="{0C6DF5BE-0141-47F6-971B-A664788A1BD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base </a:t>
          </a:r>
          <a:r>
            <a:rPr lang="pt-BR" dirty="0" err="1" smtClean="0"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EC3C4614-910F-4C5B-903E-135531E30876}" type="parTrans" cxnId="{CED64880-C247-47F4-87CB-3950E413579B}">
      <dgm:prSet/>
      <dgm:spPr/>
      <dgm:t>
        <a:bodyPr/>
        <a:lstStyle/>
        <a:p>
          <a:endParaRPr lang="pt-BR"/>
        </a:p>
      </dgm:t>
    </dgm:pt>
    <dgm:pt modelId="{3BAA75D9-25D5-411B-8D2F-680FEBA9C981}" type="sibTrans" cxnId="{CED64880-C247-47F4-87CB-3950E413579B}">
      <dgm:prSet/>
      <dgm:spPr/>
      <dgm:t>
        <a:bodyPr/>
        <a:lstStyle/>
        <a:p>
          <a:endParaRPr lang="pt-BR"/>
        </a:p>
      </dgm:t>
    </dgm:pt>
    <dgm:pt modelId="{6815642F-7A09-4BD3-87F5-0CC353223A9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om bases de inadimplência.</a:t>
          </a:r>
          <a:endParaRPr lang="pt-BR" dirty="0">
            <a:latin typeface="Simplon BP Regular" pitchFamily="2" charset="0"/>
          </a:endParaRPr>
        </a:p>
      </dgm:t>
    </dgm:pt>
    <dgm:pt modelId="{43C69F4B-741D-4DC3-8A65-4BD0757079A6}" type="parTrans" cxnId="{BC87AF46-54A1-4711-98B4-13E5FAD549D4}">
      <dgm:prSet/>
      <dgm:spPr/>
      <dgm:t>
        <a:bodyPr/>
        <a:lstStyle/>
        <a:p>
          <a:endParaRPr lang="pt-BR"/>
        </a:p>
      </dgm:t>
    </dgm:pt>
    <dgm:pt modelId="{C8C5DAA0-EFAE-4D58-8DA5-719A67F5324C}" type="sibTrans" cxnId="{BC87AF46-54A1-4711-98B4-13E5FAD549D4}">
      <dgm:prSet/>
      <dgm:spPr/>
      <dgm:t>
        <a:bodyPr/>
        <a:lstStyle/>
        <a:p>
          <a:endParaRPr lang="pt-BR"/>
        </a:p>
      </dgm:t>
    </dgm:pt>
    <dgm:pt modelId="{C204AE27-2CB6-4811-8228-EC61C09ECE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dirty="0">
            <a:latin typeface="Simplon BP Regular" pitchFamily="2" charset="0"/>
          </a:endParaRPr>
        </a:p>
      </dgm:t>
    </dgm:pt>
    <dgm:pt modelId="{289CC6EB-5BBA-4EB7-B048-52912C432DB5}" type="parTrans" cxnId="{9C03967A-B4DE-4C74-9198-FBC67E1FF1C2}">
      <dgm:prSet/>
      <dgm:spPr/>
      <dgm:t>
        <a:bodyPr/>
        <a:lstStyle/>
        <a:p>
          <a:endParaRPr lang="pt-BR"/>
        </a:p>
      </dgm:t>
    </dgm:pt>
    <dgm:pt modelId="{CC5A2447-3E4C-4B73-A011-6594A5646DF3}" type="sibTrans" cxnId="{9C03967A-B4DE-4C74-9198-FBC67E1FF1C2}">
      <dgm:prSet/>
      <dgm:spPr/>
      <dgm:t>
        <a:bodyPr/>
        <a:lstStyle/>
        <a:p>
          <a:endParaRPr lang="pt-BR"/>
        </a:p>
      </dgm:t>
    </dgm:pt>
    <dgm:pt modelId="{7F118DF1-784B-45A8-85C0-83E4F31FCF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Regras de prevenção Oi Fibra</a:t>
          </a:r>
          <a:endParaRPr lang="pt-BR" dirty="0">
            <a:latin typeface="Simplon BP Regular" pitchFamily="2" charset="0"/>
          </a:endParaRPr>
        </a:p>
      </dgm:t>
    </dgm:pt>
    <dgm:pt modelId="{1CF15F60-A0D6-48FC-9DC0-F16787ADFDA3}" type="parTrans" cxnId="{58BE0917-4085-438F-A7A7-EDD66CDB4CEA}">
      <dgm:prSet/>
      <dgm:spPr/>
      <dgm:t>
        <a:bodyPr/>
        <a:lstStyle/>
        <a:p>
          <a:endParaRPr lang="pt-BR"/>
        </a:p>
      </dgm:t>
    </dgm:pt>
    <dgm:pt modelId="{CC73DAEB-0DF5-4131-975A-EF6ECC2352F7}" type="sibTrans" cxnId="{58BE0917-4085-438F-A7A7-EDD66CDB4CEA}">
      <dgm:prSet/>
      <dgm:spPr/>
      <dgm:t>
        <a:bodyPr/>
        <a:lstStyle/>
        <a:p>
          <a:endParaRPr lang="pt-BR"/>
        </a:p>
      </dgm:t>
    </dgm:pt>
    <dgm:pt modelId="{D820DE81-4968-4F58-BB28-3767F977A7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las para o time de operação de crédito (ganho de produtividade no tratamento de propostas derivadas)</a:t>
          </a:r>
          <a:endParaRPr lang="pt-BR" dirty="0">
            <a:latin typeface="Simplon BP Regular" pitchFamily="2" charset="0"/>
          </a:endParaRPr>
        </a:p>
      </dgm:t>
    </dgm:pt>
    <dgm:pt modelId="{CBA380C3-638B-43BC-9ED1-206826EF18EA}" type="parTrans" cxnId="{DAE4D39C-B47A-4717-941E-ED82C966B427}">
      <dgm:prSet/>
      <dgm:spPr/>
      <dgm:t>
        <a:bodyPr/>
        <a:lstStyle/>
        <a:p>
          <a:endParaRPr lang="pt-BR"/>
        </a:p>
      </dgm:t>
    </dgm:pt>
    <dgm:pt modelId="{DEC00482-C60C-4FA1-BCFC-CD6BBA516C88}" type="sibTrans" cxnId="{DAE4D39C-B47A-4717-941E-ED82C966B427}">
      <dgm:prSet/>
      <dgm:spPr/>
      <dgm:t>
        <a:bodyPr/>
        <a:lstStyle/>
        <a:p>
          <a:endParaRPr lang="pt-BR"/>
        </a:p>
      </dgm:t>
    </dgm:pt>
    <dgm:pt modelId="{FD5B08EA-51A7-4581-8649-46B355B22533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2741991A-B5FB-4721-A646-804153B8D776}" type="parTrans" cxnId="{89ADDB74-7AC3-45F2-92BD-53008B541239}">
      <dgm:prSet/>
      <dgm:spPr/>
      <dgm:t>
        <a:bodyPr/>
        <a:lstStyle/>
        <a:p>
          <a:endParaRPr lang="pt-BR"/>
        </a:p>
      </dgm:t>
    </dgm:pt>
    <dgm:pt modelId="{432D7350-1CD3-45B7-AE9D-BC272AE00E5D}" type="sibTrans" cxnId="{89ADDB74-7AC3-45F2-92BD-53008B541239}">
      <dgm:prSet/>
      <dgm:spPr/>
      <dgm:t>
        <a:bodyPr/>
        <a:lstStyle/>
        <a:p>
          <a:endParaRPr lang="pt-BR"/>
        </a:p>
      </dgm:t>
    </dgm:pt>
    <dgm:pt modelId="{AE0E33B2-1A70-4018-80E7-22BDFCA365E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dirty="0">
            <a:latin typeface="Simplon BP Regular" pitchFamily="2" charset="0"/>
          </a:endParaRPr>
        </a:p>
      </dgm:t>
    </dgm:pt>
    <dgm:pt modelId="{E9558E2E-1E13-4F66-A40B-B3EE3A8D7A2D}" type="parTrans" cxnId="{FAFB549E-DA1B-4C9D-BCB4-20376AAE53B9}">
      <dgm:prSet/>
      <dgm:spPr/>
      <dgm:t>
        <a:bodyPr/>
        <a:lstStyle/>
        <a:p>
          <a:endParaRPr lang="pt-BR"/>
        </a:p>
      </dgm:t>
    </dgm:pt>
    <dgm:pt modelId="{E8E036B7-C0B2-415B-8C1F-E21CD2092799}" type="sibTrans" cxnId="{FAFB549E-DA1B-4C9D-BCB4-20376AAE53B9}">
      <dgm:prSet/>
      <dgm:spPr/>
      <dgm:t>
        <a:bodyPr/>
        <a:lstStyle/>
        <a:p>
          <a:endParaRPr lang="pt-BR"/>
        </a:p>
      </dgm:t>
    </dgm:pt>
    <dgm:pt modelId="{884DFA58-43B3-45CB-98CC-5FDA528D5BA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dirty="0">
            <a:latin typeface="Simplon BP Regular" pitchFamily="2" charset="0"/>
          </a:endParaRPr>
        </a:p>
      </dgm:t>
    </dgm:pt>
    <dgm:pt modelId="{B6FEB3EC-F959-47D9-BD2E-8AD2170FF81A}" type="parTrans" cxnId="{103E80E3-039F-43F5-924E-A4CD84798CCC}">
      <dgm:prSet/>
      <dgm:spPr/>
      <dgm:t>
        <a:bodyPr/>
        <a:lstStyle/>
        <a:p>
          <a:endParaRPr lang="pt-BR"/>
        </a:p>
      </dgm:t>
    </dgm:pt>
    <dgm:pt modelId="{3F390D4D-3A09-4869-8535-CAC9CFAC0FB2}" type="sibTrans" cxnId="{103E80E3-039F-43F5-924E-A4CD84798CCC}">
      <dgm:prSet/>
      <dgm:spPr/>
      <dgm:t>
        <a:bodyPr/>
        <a:lstStyle/>
        <a:p>
          <a:endParaRPr lang="pt-BR"/>
        </a:p>
      </dgm:t>
    </dgm:pt>
    <dgm:pt modelId="{44E971BB-A104-43A1-AEAE-B1A4871A40C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8E879625-5FCC-42F2-A1B3-DA7AB99D1F5A}" type="parTrans" cxnId="{937197DC-137E-40EB-8E68-91DBF63E407C}">
      <dgm:prSet/>
      <dgm:spPr/>
      <dgm:t>
        <a:bodyPr/>
        <a:lstStyle/>
        <a:p>
          <a:endParaRPr lang="pt-BR"/>
        </a:p>
      </dgm:t>
    </dgm:pt>
    <dgm:pt modelId="{1F6C8D3A-955D-4E51-9097-4486E74C8E76}" type="sibTrans" cxnId="{937197DC-137E-40EB-8E68-91DBF63E407C}">
      <dgm:prSet/>
      <dgm:spPr/>
      <dgm:t>
        <a:bodyPr/>
        <a:lstStyle/>
        <a:p>
          <a:endParaRPr lang="pt-BR"/>
        </a:p>
      </dgm:t>
    </dgm:pt>
    <dgm:pt modelId="{69F988BE-0307-43E0-BDE4-311FD77C85C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para score de risco Oi Controle</a:t>
          </a:r>
          <a:endParaRPr lang="pt-BR" dirty="0">
            <a:latin typeface="Simplon BP Regular" pitchFamily="2" charset="0"/>
          </a:endParaRPr>
        </a:p>
      </dgm:t>
    </dgm:pt>
    <dgm:pt modelId="{BEE02001-D430-4E52-B4ED-48C7788C3BDD}" type="parTrans" cxnId="{A81B49BC-A7B3-40B0-BDBC-2EF7F2C0E28E}">
      <dgm:prSet/>
      <dgm:spPr/>
      <dgm:t>
        <a:bodyPr/>
        <a:lstStyle/>
        <a:p>
          <a:endParaRPr lang="pt-BR"/>
        </a:p>
      </dgm:t>
    </dgm:pt>
    <dgm:pt modelId="{4A4ED422-539B-4EE6-9D3D-A16D1D2C5AF3}" type="sibTrans" cxnId="{A81B49BC-A7B3-40B0-BDBC-2EF7F2C0E28E}">
      <dgm:prSet/>
      <dgm:spPr/>
      <dgm:t>
        <a:bodyPr/>
        <a:lstStyle/>
        <a:p>
          <a:endParaRPr lang="pt-BR"/>
        </a:p>
      </dgm:t>
    </dgm:pt>
    <dgm:pt modelId="{9A00C785-02EE-4B72-A732-750470EBE37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de risco </a:t>
          </a:r>
          <a:r>
            <a:rPr lang="pt-BR" dirty="0" err="1" smtClean="0">
              <a:latin typeface="Simplon BP Regular" pitchFamily="2" charset="0"/>
            </a:rPr>
            <a:t>chargeback</a:t>
          </a:r>
          <a:r>
            <a:rPr lang="pt-BR" dirty="0" smtClean="0">
              <a:latin typeface="Simplon BP Regular" pitchFamily="2" charset="0"/>
            </a:rPr>
            <a:t> Oi Controle</a:t>
          </a:r>
          <a:endParaRPr lang="pt-BR" dirty="0">
            <a:latin typeface="Simplon BP Regular" pitchFamily="2" charset="0"/>
          </a:endParaRPr>
        </a:p>
      </dgm:t>
    </dgm:pt>
    <dgm:pt modelId="{61CADA0E-A511-4C60-8D5D-2523E2EC5BA7}" type="parTrans" cxnId="{20F17466-7F4B-4D5F-BA07-1E1A2F9714A8}">
      <dgm:prSet/>
      <dgm:spPr/>
      <dgm:t>
        <a:bodyPr/>
        <a:lstStyle/>
        <a:p>
          <a:endParaRPr lang="pt-BR"/>
        </a:p>
      </dgm:t>
    </dgm:pt>
    <dgm:pt modelId="{008DB081-021B-4A75-BADC-7E6574552B7A}" type="sibTrans" cxnId="{20F17466-7F4B-4D5F-BA07-1E1A2F9714A8}">
      <dgm:prSet/>
      <dgm:spPr/>
      <dgm:t>
        <a:bodyPr/>
        <a:lstStyle/>
        <a:p>
          <a:endParaRPr lang="pt-BR"/>
        </a:p>
      </dgm:t>
    </dgm:pt>
    <dgm:pt modelId="{40A2303F-1873-4F12-B864-579276BDF39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dirty="0">
            <a:latin typeface="Simplon BP Regular" pitchFamily="2" charset="0"/>
          </a:endParaRPr>
        </a:p>
      </dgm:t>
    </dgm:pt>
    <dgm:pt modelId="{6F6E5FAE-1D38-4FF9-887D-212BE5BD9917}" type="parTrans" cxnId="{0A3A052E-5ABC-422B-AB4C-64DC94C55A99}">
      <dgm:prSet/>
      <dgm:spPr/>
      <dgm:t>
        <a:bodyPr/>
        <a:lstStyle/>
        <a:p>
          <a:endParaRPr lang="pt-BR"/>
        </a:p>
      </dgm:t>
    </dgm:pt>
    <dgm:pt modelId="{6F57CDC3-EE77-4C02-B8FF-7FC18222E005}" type="sibTrans" cxnId="{0A3A052E-5ABC-422B-AB4C-64DC94C55A99}">
      <dgm:prSet/>
      <dgm:spPr/>
      <dgm:t>
        <a:bodyPr/>
        <a:lstStyle/>
        <a:p>
          <a:endParaRPr lang="pt-BR"/>
        </a:p>
      </dgm:t>
    </dgm:pt>
    <dgm:pt modelId="{ACF87BA0-827E-4067-A56D-21C8EBED5E85}" type="pres">
      <dgm:prSet presAssocID="{62336337-2256-44E8-BEDF-0D21DDDF7D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6C43FEE-5274-496D-8589-E739FE48E676}" type="pres">
      <dgm:prSet presAssocID="{C2C72F27-2098-4705-897B-44A484D71828}" presName="composite" presStyleCnt="0"/>
      <dgm:spPr/>
    </dgm:pt>
    <dgm:pt modelId="{AADE1378-D8A4-48EE-A826-5E644960EB3B}" type="pres">
      <dgm:prSet presAssocID="{C2C72F27-2098-4705-897B-44A484D71828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A705A68-C9BC-403B-93F4-E7F1CB006A9D}" type="pres">
      <dgm:prSet presAssocID="{C2C72F27-2098-4705-897B-44A484D71828}" presName="parSh" presStyleLbl="node1" presStyleIdx="0" presStyleCnt="6"/>
      <dgm:spPr/>
      <dgm:t>
        <a:bodyPr/>
        <a:lstStyle/>
        <a:p>
          <a:endParaRPr lang="pt-BR"/>
        </a:p>
      </dgm:t>
    </dgm:pt>
    <dgm:pt modelId="{128CEE05-57CC-4C50-B4DA-497A9518C86D}" type="pres">
      <dgm:prSet presAssocID="{C2C72F27-2098-4705-897B-44A484D71828}" presName="desTx" presStyleLbl="fgAcc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E79DA8-096B-4864-B765-C027EED0FC91}" type="pres">
      <dgm:prSet presAssocID="{8502707A-B1C2-4D59-9033-D39348DDF64B}" presName="sibTrans" presStyleLbl="sibTrans2D1" presStyleIdx="0" presStyleCnt="5"/>
      <dgm:spPr/>
      <dgm:t>
        <a:bodyPr/>
        <a:lstStyle/>
        <a:p>
          <a:endParaRPr lang="pt-BR"/>
        </a:p>
      </dgm:t>
    </dgm:pt>
    <dgm:pt modelId="{ADE21065-ADA0-488A-A9E9-714DC420FA32}" type="pres">
      <dgm:prSet presAssocID="{8502707A-B1C2-4D59-9033-D39348DDF64B}" presName="connTx" presStyleLbl="sibTrans2D1" presStyleIdx="0" presStyleCnt="5"/>
      <dgm:spPr/>
      <dgm:t>
        <a:bodyPr/>
        <a:lstStyle/>
        <a:p>
          <a:endParaRPr lang="pt-BR"/>
        </a:p>
      </dgm:t>
    </dgm:pt>
    <dgm:pt modelId="{CAA6BA3B-0F9A-4F26-8076-0536A3EE0DF8}" type="pres">
      <dgm:prSet presAssocID="{12CB4909-2A43-44E2-B35A-56AF72E51FC3}" presName="composite" presStyleCnt="0"/>
      <dgm:spPr/>
    </dgm:pt>
    <dgm:pt modelId="{DF24A95D-A3FD-48ED-A7FF-4792ED8736F8}" type="pres">
      <dgm:prSet presAssocID="{12CB4909-2A43-44E2-B35A-56AF72E51FC3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2E93AE-2098-49D0-9473-591D8D191E4B}" type="pres">
      <dgm:prSet presAssocID="{12CB4909-2A43-44E2-B35A-56AF72E51FC3}" presName="parSh" presStyleLbl="node1" presStyleIdx="1" presStyleCnt="6"/>
      <dgm:spPr/>
      <dgm:t>
        <a:bodyPr/>
        <a:lstStyle/>
        <a:p>
          <a:endParaRPr lang="pt-BR"/>
        </a:p>
      </dgm:t>
    </dgm:pt>
    <dgm:pt modelId="{51B30C7F-40A0-4F75-AF53-AB05C04F6C8A}" type="pres">
      <dgm:prSet presAssocID="{12CB4909-2A43-44E2-B35A-56AF72E51FC3}" presName="desTx" presStyleLbl="fgAcc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9B5A78-5BA9-45C0-A91A-BE0E6C52788E}" type="pres">
      <dgm:prSet presAssocID="{9AE66A17-1F47-4431-8CB9-F8C13BD797CB}" presName="sibTrans" presStyleLbl="sibTrans2D1" presStyleIdx="1" presStyleCnt="5"/>
      <dgm:spPr/>
      <dgm:t>
        <a:bodyPr/>
        <a:lstStyle/>
        <a:p>
          <a:endParaRPr lang="pt-BR"/>
        </a:p>
      </dgm:t>
    </dgm:pt>
    <dgm:pt modelId="{76E6CABA-6F7A-4B1C-96BA-8788729FF877}" type="pres">
      <dgm:prSet presAssocID="{9AE66A17-1F47-4431-8CB9-F8C13BD797CB}" presName="connTx" presStyleLbl="sibTrans2D1" presStyleIdx="1" presStyleCnt="5"/>
      <dgm:spPr/>
      <dgm:t>
        <a:bodyPr/>
        <a:lstStyle/>
        <a:p>
          <a:endParaRPr lang="pt-BR"/>
        </a:p>
      </dgm:t>
    </dgm:pt>
    <dgm:pt modelId="{BA82BDA4-9F0F-4CB9-839E-206808C3A19F}" type="pres">
      <dgm:prSet presAssocID="{302DE5A1-9305-4288-8145-35C00CDFD2FA}" presName="composite" presStyleCnt="0"/>
      <dgm:spPr/>
    </dgm:pt>
    <dgm:pt modelId="{BD38A5FC-4657-46C0-846F-F19F0D488E61}" type="pres">
      <dgm:prSet presAssocID="{302DE5A1-9305-4288-8145-35C00CDFD2FA}" presName="par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98EED1B-FECC-4282-8233-5E08D0136D68}" type="pres">
      <dgm:prSet presAssocID="{302DE5A1-9305-4288-8145-35C00CDFD2FA}" presName="parSh" presStyleLbl="node1" presStyleIdx="2" presStyleCnt="6"/>
      <dgm:spPr/>
      <dgm:t>
        <a:bodyPr/>
        <a:lstStyle/>
        <a:p>
          <a:endParaRPr lang="pt-BR"/>
        </a:p>
      </dgm:t>
    </dgm:pt>
    <dgm:pt modelId="{D9A0BBD1-BFCD-441D-8BC5-787F453ABEE7}" type="pres">
      <dgm:prSet presAssocID="{302DE5A1-9305-4288-8145-35C00CDFD2FA}" presName="desTx" presStyleLbl="fgAcc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06AF0BC-7FDA-4F72-84D9-8B947B6511BE}" type="pres">
      <dgm:prSet presAssocID="{CB4B2F89-B4FE-40EB-BC37-AEB462AA98B0}" presName="sibTrans" presStyleLbl="sibTrans2D1" presStyleIdx="2" presStyleCnt="5"/>
      <dgm:spPr/>
      <dgm:t>
        <a:bodyPr/>
        <a:lstStyle/>
        <a:p>
          <a:endParaRPr lang="pt-BR"/>
        </a:p>
      </dgm:t>
    </dgm:pt>
    <dgm:pt modelId="{9D47DC27-6795-45C1-BFB7-7F7583463F16}" type="pres">
      <dgm:prSet presAssocID="{CB4B2F89-B4FE-40EB-BC37-AEB462AA98B0}" presName="connTx" presStyleLbl="sibTrans2D1" presStyleIdx="2" presStyleCnt="5"/>
      <dgm:spPr/>
      <dgm:t>
        <a:bodyPr/>
        <a:lstStyle/>
        <a:p>
          <a:endParaRPr lang="pt-BR"/>
        </a:p>
      </dgm:t>
    </dgm:pt>
    <dgm:pt modelId="{2FA06715-4332-4CFC-8EA1-07CEC270DCA2}" type="pres">
      <dgm:prSet presAssocID="{76E17EC1-61E0-46E4-8B53-890607453538}" presName="composite" presStyleCnt="0"/>
      <dgm:spPr/>
    </dgm:pt>
    <dgm:pt modelId="{4F340094-70AB-453E-83A9-1508995BD34F}" type="pres">
      <dgm:prSet presAssocID="{76E17EC1-61E0-46E4-8B53-890607453538}" presName="par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89D9DF3-4176-4A88-BE35-796A6571C501}" type="pres">
      <dgm:prSet presAssocID="{76E17EC1-61E0-46E4-8B53-890607453538}" presName="parSh" presStyleLbl="node1" presStyleIdx="3" presStyleCnt="6"/>
      <dgm:spPr/>
      <dgm:t>
        <a:bodyPr/>
        <a:lstStyle/>
        <a:p>
          <a:endParaRPr lang="pt-BR"/>
        </a:p>
      </dgm:t>
    </dgm:pt>
    <dgm:pt modelId="{DD876723-B8B5-4B58-AC90-014762D7785A}" type="pres">
      <dgm:prSet presAssocID="{76E17EC1-61E0-46E4-8B53-890607453538}" presName="desTx" presStyleLbl="fgAcc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6FCCECD-0E52-4245-BDCB-B65F0C81F2CF}" type="pres">
      <dgm:prSet presAssocID="{165B1D6C-9FBC-4CBF-B710-56ECBB6AA444}" presName="sibTrans" presStyleLbl="sibTrans2D1" presStyleIdx="3" presStyleCnt="5"/>
      <dgm:spPr/>
      <dgm:t>
        <a:bodyPr/>
        <a:lstStyle/>
        <a:p>
          <a:endParaRPr lang="pt-BR"/>
        </a:p>
      </dgm:t>
    </dgm:pt>
    <dgm:pt modelId="{A99077AE-9CE9-451A-96B0-EBF67396907B}" type="pres">
      <dgm:prSet presAssocID="{165B1D6C-9FBC-4CBF-B710-56ECBB6AA444}" presName="connTx" presStyleLbl="sibTrans2D1" presStyleIdx="3" presStyleCnt="5"/>
      <dgm:spPr/>
      <dgm:t>
        <a:bodyPr/>
        <a:lstStyle/>
        <a:p>
          <a:endParaRPr lang="pt-BR"/>
        </a:p>
      </dgm:t>
    </dgm:pt>
    <dgm:pt modelId="{FB95C09F-CBA2-4381-95F4-A8EA4002C22E}" type="pres">
      <dgm:prSet presAssocID="{1A2EF02F-5CE5-465B-A963-5EB32309EBEF}" presName="composite" presStyleCnt="0"/>
      <dgm:spPr/>
    </dgm:pt>
    <dgm:pt modelId="{AFFB2D65-4339-4B6C-9E0F-7BB072B24077}" type="pres">
      <dgm:prSet presAssocID="{1A2EF02F-5CE5-465B-A963-5EB32309EBEF}" presName="par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A5293F9-1836-41E9-8CD6-654A611A4AAD}" type="pres">
      <dgm:prSet presAssocID="{1A2EF02F-5CE5-465B-A963-5EB32309EBEF}" presName="parSh" presStyleLbl="node1" presStyleIdx="4" presStyleCnt="6"/>
      <dgm:spPr/>
      <dgm:t>
        <a:bodyPr/>
        <a:lstStyle/>
        <a:p>
          <a:endParaRPr lang="pt-BR"/>
        </a:p>
      </dgm:t>
    </dgm:pt>
    <dgm:pt modelId="{49A41B1A-CE5A-465C-8219-E986C23B9447}" type="pres">
      <dgm:prSet presAssocID="{1A2EF02F-5CE5-465B-A963-5EB32309EBEF}" presName="desTx" presStyleLbl="fgAcc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165C9B8-2DE0-4EE0-A731-BE012A27C5BE}" type="pres">
      <dgm:prSet presAssocID="{E8D971C7-0392-434A-9A87-51DDEE9B0DE4}" presName="sibTrans" presStyleLbl="sibTrans2D1" presStyleIdx="4" presStyleCnt="5"/>
      <dgm:spPr/>
      <dgm:t>
        <a:bodyPr/>
        <a:lstStyle/>
        <a:p>
          <a:endParaRPr lang="pt-BR"/>
        </a:p>
      </dgm:t>
    </dgm:pt>
    <dgm:pt modelId="{4D74D433-1408-4A55-BE73-209C3A36A2FF}" type="pres">
      <dgm:prSet presAssocID="{E8D971C7-0392-434A-9A87-51DDEE9B0DE4}" presName="connTx" presStyleLbl="sibTrans2D1" presStyleIdx="4" presStyleCnt="5"/>
      <dgm:spPr/>
      <dgm:t>
        <a:bodyPr/>
        <a:lstStyle/>
        <a:p>
          <a:endParaRPr lang="pt-BR"/>
        </a:p>
      </dgm:t>
    </dgm:pt>
    <dgm:pt modelId="{0171B525-D1F9-4334-85BB-38BDC9E45F2C}" type="pres">
      <dgm:prSet presAssocID="{359F2D02-C5C3-433F-B152-DB252EAF9EB7}" presName="composite" presStyleCnt="0"/>
      <dgm:spPr/>
    </dgm:pt>
    <dgm:pt modelId="{809C96F8-8B57-4C7A-A34B-0E734AB4CF8E}" type="pres">
      <dgm:prSet presAssocID="{359F2D02-C5C3-433F-B152-DB252EAF9EB7}" presName="par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5C0BF84-3D4F-4E45-811F-C8EE91F3D3D5}" type="pres">
      <dgm:prSet presAssocID="{359F2D02-C5C3-433F-B152-DB252EAF9EB7}" presName="parSh" presStyleLbl="node1" presStyleIdx="5" presStyleCnt="6"/>
      <dgm:spPr/>
      <dgm:t>
        <a:bodyPr/>
        <a:lstStyle/>
        <a:p>
          <a:endParaRPr lang="pt-BR"/>
        </a:p>
      </dgm:t>
    </dgm:pt>
    <dgm:pt modelId="{C050ADDE-7216-451F-BC25-5CD750E8A8C4}" type="pres">
      <dgm:prSet presAssocID="{359F2D02-C5C3-433F-B152-DB252EAF9EB7}" presName="desTx" presStyleLbl="fgAcc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58BE0917-4085-438F-A7A7-EDD66CDB4CEA}" srcId="{1A2EF02F-5CE5-465B-A963-5EB32309EBEF}" destId="{7F118DF1-784B-45A8-85C0-83E4F31FCFC2}" srcOrd="0" destOrd="0" parTransId="{1CF15F60-A0D6-48FC-9DC0-F16787ADFDA3}" sibTransId="{CC73DAEB-0DF5-4131-975A-EF6ECC2352F7}"/>
    <dgm:cxn modelId="{14A1752F-D164-411F-8E3E-11E0F8FCDE83}" type="presOf" srcId="{884DFA58-43B3-45CB-98CC-5FDA528D5BA4}" destId="{C050ADDE-7216-451F-BC25-5CD750E8A8C4}" srcOrd="0" destOrd="1" presId="urn:microsoft.com/office/officeart/2005/8/layout/process3"/>
    <dgm:cxn modelId="{D87B18E5-1038-4FFF-88E4-75AC663BBCFD}" type="presOf" srcId="{8502707A-B1C2-4D59-9033-D39348DDF64B}" destId="{ADE21065-ADA0-488A-A9E9-714DC420FA32}" srcOrd="1" destOrd="0" presId="urn:microsoft.com/office/officeart/2005/8/layout/process3"/>
    <dgm:cxn modelId="{B50944A1-A273-4841-BB98-CA557654634D}" type="presOf" srcId="{FD5B08EA-51A7-4581-8649-46B355B22533}" destId="{49A41B1A-CE5A-465C-8219-E986C23B9447}" srcOrd="0" destOrd="2" presId="urn:microsoft.com/office/officeart/2005/8/layout/process3"/>
    <dgm:cxn modelId="{DA95AA11-7F3A-4781-ACFB-B197279057EE}" srcId="{76E17EC1-61E0-46E4-8B53-890607453538}" destId="{D0966F0B-6A79-4570-96B0-1869F96AAE64}" srcOrd="2" destOrd="0" parTransId="{6539CD5A-27C4-41EB-9CCB-5FAF3FC14A61}" sibTransId="{F35F56E9-F1F1-4016-A37F-AB6441AE16AA}"/>
    <dgm:cxn modelId="{E6AD8AEA-1FC5-4DEB-8C0B-AA8E3D6FCEF4}" type="presOf" srcId="{0C6DF5BE-0141-47F6-971B-A664788A1BD6}" destId="{DD876723-B8B5-4B58-AC90-014762D7785A}" srcOrd="0" destOrd="5" presId="urn:microsoft.com/office/officeart/2005/8/layout/process3"/>
    <dgm:cxn modelId="{EE8E3E0B-E9E3-48BA-A584-C63BA77CD843}" srcId="{302DE5A1-9305-4288-8145-35C00CDFD2FA}" destId="{7ACBBFF4-2C87-4804-9EE0-EDEEC39B4EED}" srcOrd="2" destOrd="0" parTransId="{9A7F849B-E31F-4D0F-B641-AE0ED0AD9A2F}" sibTransId="{AD0976AD-5CAF-42C4-A521-7F6E55F6A40B}"/>
    <dgm:cxn modelId="{4A7353ED-E8A9-4CB0-BC5D-A9922369337F}" type="presOf" srcId="{4846EA97-7DB8-48BE-968E-AE939301B328}" destId="{128CEE05-57CC-4C50-B4DA-497A9518C86D}" srcOrd="0" destOrd="0" presId="urn:microsoft.com/office/officeart/2005/8/layout/process3"/>
    <dgm:cxn modelId="{C51AA022-69F5-4BAD-9028-1974E0007035}" srcId="{62336337-2256-44E8-BEDF-0D21DDDF7D43}" destId="{359F2D02-C5C3-433F-B152-DB252EAF9EB7}" srcOrd="5" destOrd="0" parTransId="{7739E33E-9BF7-4D26-9646-FD697AF213DF}" sibTransId="{CA5E9195-A7FA-4C06-A040-5A3F6AC6195E}"/>
    <dgm:cxn modelId="{73256A21-11D8-448F-A40D-FD2F4A8CF604}" type="presOf" srcId="{CB4B2F89-B4FE-40EB-BC37-AEB462AA98B0}" destId="{9D47DC27-6795-45C1-BFB7-7F7583463F16}" srcOrd="1" destOrd="0" presId="urn:microsoft.com/office/officeart/2005/8/layout/process3"/>
    <dgm:cxn modelId="{A25F2DD5-DA7A-491C-8F74-9FC277617AC1}" srcId="{62336337-2256-44E8-BEDF-0D21DDDF7D43}" destId="{C2C72F27-2098-4705-897B-44A484D71828}" srcOrd="0" destOrd="0" parTransId="{26C3E0B6-A821-44F0-817F-B3112DA2B3BB}" sibTransId="{8502707A-B1C2-4D59-9033-D39348DDF64B}"/>
    <dgm:cxn modelId="{E3338D3E-4C14-44CB-BF65-A531AD84656D}" type="presOf" srcId="{165B1D6C-9FBC-4CBF-B710-56ECBB6AA444}" destId="{B6FCCECD-0E52-4245-BDCB-B65F0C81F2CF}" srcOrd="0" destOrd="0" presId="urn:microsoft.com/office/officeart/2005/8/layout/process3"/>
    <dgm:cxn modelId="{7D3DC396-7B66-469A-B30A-8A516DDF3F2D}" type="presOf" srcId="{CB4B2F89-B4FE-40EB-BC37-AEB462AA98B0}" destId="{506AF0BC-7FDA-4F72-84D9-8B947B6511BE}" srcOrd="0" destOrd="0" presId="urn:microsoft.com/office/officeart/2005/8/layout/process3"/>
    <dgm:cxn modelId="{0E42AC0A-1D4E-48DD-87E9-212CD4C8E9DC}" type="presOf" srcId="{7F118DF1-784B-45A8-85C0-83E4F31FCFC2}" destId="{49A41B1A-CE5A-465C-8219-E986C23B9447}" srcOrd="0" destOrd="0" presId="urn:microsoft.com/office/officeart/2005/8/layout/process3"/>
    <dgm:cxn modelId="{DAE4D39C-B47A-4717-941E-ED82C966B427}" srcId="{1A2EF02F-5CE5-465B-A963-5EB32309EBEF}" destId="{D820DE81-4968-4F58-BB28-3767F977A759}" srcOrd="1" destOrd="0" parTransId="{CBA380C3-638B-43BC-9ED1-206826EF18EA}" sibTransId="{DEC00482-C60C-4FA1-BCFC-CD6BBA516C88}"/>
    <dgm:cxn modelId="{D210686B-D75C-418A-BA7A-1B2956150D6E}" type="presOf" srcId="{AE0E33B2-1A70-4018-80E7-22BDFCA365E3}" destId="{C050ADDE-7216-451F-BC25-5CD750E8A8C4}" srcOrd="0" destOrd="0" presId="urn:microsoft.com/office/officeart/2005/8/layout/process3"/>
    <dgm:cxn modelId="{7042E4A2-6D12-4B5D-ACA4-E2905F443910}" type="presOf" srcId="{D820DE81-4968-4F58-BB28-3767F977A759}" destId="{49A41B1A-CE5A-465C-8219-E986C23B9447}" srcOrd="0" destOrd="1" presId="urn:microsoft.com/office/officeart/2005/8/layout/process3"/>
    <dgm:cxn modelId="{937197DC-137E-40EB-8E68-91DBF63E407C}" srcId="{359F2D02-C5C3-433F-B152-DB252EAF9EB7}" destId="{44E971BB-A104-43A1-AEAE-B1A4871A40CC}" srcOrd="4" destOrd="0" parTransId="{8E879625-5FCC-42F2-A1B3-DA7AB99D1F5A}" sibTransId="{1F6C8D3A-955D-4E51-9097-4486E74C8E76}"/>
    <dgm:cxn modelId="{439BC8CE-745D-45E6-B535-04A371B52208}" type="presOf" srcId="{12CB4909-2A43-44E2-B35A-56AF72E51FC3}" destId="{DF24A95D-A3FD-48ED-A7FF-4792ED8736F8}" srcOrd="0" destOrd="0" presId="urn:microsoft.com/office/officeart/2005/8/layout/process3"/>
    <dgm:cxn modelId="{AA2D662A-CD4F-424B-8197-3CD35128AEE0}" srcId="{62336337-2256-44E8-BEDF-0D21DDDF7D43}" destId="{1A2EF02F-5CE5-465B-A963-5EB32309EBEF}" srcOrd="4" destOrd="0" parTransId="{65EEFFFA-6400-4581-A8DA-70907EFFC537}" sibTransId="{E8D971C7-0392-434A-9A87-51DDEE9B0DE4}"/>
    <dgm:cxn modelId="{56885B24-9B13-4A42-8319-E6597F922602}" type="presOf" srcId="{0822EE73-6FCB-4401-8002-B8A72B03EDFA}" destId="{DD876723-B8B5-4B58-AC90-014762D7785A}" srcOrd="0" destOrd="0" presId="urn:microsoft.com/office/officeart/2005/8/layout/process3"/>
    <dgm:cxn modelId="{085574B6-9994-4F3B-BBD9-DCA4CBCBAF23}" srcId="{12CB4909-2A43-44E2-B35A-56AF72E51FC3}" destId="{1DD5C18E-B868-4531-9FB3-788818551EFA}" srcOrd="1" destOrd="0" parTransId="{AD2AB023-1E06-42F9-BD37-A01244CA9093}" sibTransId="{59BFA716-AF06-46C0-8D74-B95BEFDE6368}"/>
    <dgm:cxn modelId="{20F17466-7F4B-4D5F-BA07-1E1A2F9714A8}" srcId="{359F2D02-C5C3-433F-B152-DB252EAF9EB7}" destId="{9A00C785-02EE-4B72-A732-750470EBE37B}" srcOrd="3" destOrd="0" parTransId="{61CADA0E-A511-4C60-8D5D-2523E2EC5BA7}" sibTransId="{008DB081-021B-4A75-BADC-7E6574552B7A}"/>
    <dgm:cxn modelId="{E03ADCAD-6C34-49CF-A60E-EA8B4822193A}" type="presOf" srcId="{7EFB80DE-C3E0-4664-8DE5-7967BD82D9AB}" destId="{DD876723-B8B5-4B58-AC90-014762D7785A}" srcOrd="0" destOrd="1" presId="urn:microsoft.com/office/officeart/2005/8/layout/process3"/>
    <dgm:cxn modelId="{26E24FE9-FC76-4D25-926D-34B3A26D0952}" type="presOf" srcId="{D0966F0B-6A79-4570-96B0-1869F96AAE64}" destId="{DD876723-B8B5-4B58-AC90-014762D7785A}" srcOrd="0" destOrd="2" presId="urn:microsoft.com/office/officeart/2005/8/layout/process3"/>
    <dgm:cxn modelId="{7EF02879-AEAC-42E1-9FC9-E22C7E17C7F4}" type="presOf" srcId="{69F988BE-0307-43E0-BDE4-311FD77C85CB}" destId="{C050ADDE-7216-451F-BC25-5CD750E8A8C4}" srcOrd="0" destOrd="2" presId="urn:microsoft.com/office/officeart/2005/8/layout/process3"/>
    <dgm:cxn modelId="{BC87AF46-54A1-4711-98B4-13E5FAD549D4}" srcId="{76E17EC1-61E0-46E4-8B53-890607453538}" destId="{6815642F-7A09-4BD3-87F5-0CC353223A98}" srcOrd="6" destOrd="0" parTransId="{43C69F4B-741D-4DC3-8A65-4BD0757079A6}" sibTransId="{C8C5DAA0-EFAE-4D58-8DA5-719A67F5324C}"/>
    <dgm:cxn modelId="{EAD48CCC-27CD-41CE-AB17-9B7851E3D940}" type="presOf" srcId="{DC72F786-5F58-4327-BF53-BC67B4DB65B3}" destId="{D9A0BBD1-BFCD-441D-8BC5-787F453ABEE7}" srcOrd="0" destOrd="4" presId="urn:microsoft.com/office/officeart/2005/8/layout/process3"/>
    <dgm:cxn modelId="{6DEBA8AD-251C-4996-B9A3-9047B4FEB122}" type="presOf" srcId="{7497085F-1912-4C01-A4D4-E5ADB4FDFA72}" destId="{51B30C7F-40A0-4F75-AF53-AB05C04F6C8A}" srcOrd="0" destOrd="3" presId="urn:microsoft.com/office/officeart/2005/8/layout/process3"/>
    <dgm:cxn modelId="{B4C32FEE-1E86-4B24-B663-7C01C7B21F06}" type="presOf" srcId="{C2C72F27-2098-4705-897B-44A484D71828}" destId="{1A705A68-C9BC-403B-93F4-E7F1CB006A9D}" srcOrd="1" destOrd="0" presId="urn:microsoft.com/office/officeart/2005/8/layout/process3"/>
    <dgm:cxn modelId="{CA49C114-8FD1-417A-BE67-43B539C266B3}" type="presOf" srcId="{C5674ACE-2BBD-4A67-B860-7F29C760F253}" destId="{DD876723-B8B5-4B58-AC90-014762D7785A}" srcOrd="0" destOrd="3" presId="urn:microsoft.com/office/officeart/2005/8/layout/process3"/>
    <dgm:cxn modelId="{C0BE8AE5-8CF0-4EAE-898B-7B66E92E8594}" srcId="{76E17EC1-61E0-46E4-8B53-890607453538}" destId="{506D527F-0F36-45BC-8ACE-853B43AEE5BF}" srcOrd="4" destOrd="0" parTransId="{F2BCEA8A-1912-4E6C-8B9B-F80E4BACB27A}" sibTransId="{B60A61C2-4EB5-483C-9867-CECF2B85DF75}"/>
    <dgm:cxn modelId="{3B163DF2-2EFB-4B1C-9AE7-64EA5BAF8DAA}" type="presOf" srcId="{44E971BB-A104-43A1-AEAE-B1A4871A40CC}" destId="{C050ADDE-7216-451F-BC25-5CD750E8A8C4}" srcOrd="0" destOrd="4" presId="urn:microsoft.com/office/officeart/2005/8/layout/process3"/>
    <dgm:cxn modelId="{8AE9CCC7-862D-4986-9F24-0F24135C755F}" type="presOf" srcId="{C94E3FC6-C289-4D27-BDA5-878C8C389927}" destId="{128CEE05-57CC-4C50-B4DA-497A9518C86D}" srcOrd="0" destOrd="2" presId="urn:microsoft.com/office/officeart/2005/8/layout/process3"/>
    <dgm:cxn modelId="{D2A11EB9-A394-46EB-956D-0357506C4D47}" type="presOf" srcId="{1A2EF02F-5CE5-465B-A963-5EB32309EBEF}" destId="{EA5293F9-1836-41E9-8CD6-654A611A4AAD}" srcOrd="1" destOrd="0" presId="urn:microsoft.com/office/officeart/2005/8/layout/process3"/>
    <dgm:cxn modelId="{EFFC6B1A-C40C-41E4-AAE1-C53103278D38}" type="presOf" srcId="{8502707A-B1C2-4D59-9033-D39348DDF64B}" destId="{FAE79DA8-096B-4864-B765-C027EED0FC91}" srcOrd="0" destOrd="0" presId="urn:microsoft.com/office/officeart/2005/8/layout/process3"/>
    <dgm:cxn modelId="{3E9101B6-941B-4C05-9038-ABFBCBBF57BD}" srcId="{302DE5A1-9305-4288-8145-35C00CDFD2FA}" destId="{F0D0770F-A077-4DE0-BC78-EEA99C7D8EAB}" srcOrd="0" destOrd="0" parTransId="{C8C8D0C3-A9AE-48C1-84F1-D9964E1F266E}" sibTransId="{E5EA5A63-92BF-494C-8F16-A0B0E2F33673}"/>
    <dgm:cxn modelId="{CED64880-C247-47F4-87CB-3950E413579B}" srcId="{76E17EC1-61E0-46E4-8B53-890607453538}" destId="{0C6DF5BE-0141-47F6-971B-A664788A1BD6}" srcOrd="5" destOrd="0" parTransId="{EC3C4614-910F-4C5B-903E-135531E30876}" sibTransId="{3BAA75D9-25D5-411B-8D2F-680FEBA9C981}"/>
    <dgm:cxn modelId="{978E946A-669B-40F4-8D64-719AB167FD00}" srcId="{12CB4909-2A43-44E2-B35A-56AF72E51FC3}" destId="{5C263B98-60F2-4779-8B13-6AF88961101E}" srcOrd="2" destOrd="0" parTransId="{A93B9210-4A2D-4CE7-83FE-DD90DCB2295A}" sibTransId="{256FE086-F048-4C9B-BAEB-6B96DBFFDB23}"/>
    <dgm:cxn modelId="{18D97A54-9383-49F5-B927-B60BC7766F14}" type="presOf" srcId="{F0D0770F-A077-4DE0-BC78-EEA99C7D8EAB}" destId="{D9A0BBD1-BFCD-441D-8BC5-787F453ABEE7}" srcOrd="0" destOrd="0" presId="urn:microsoft.com/office/officeart/2005/8/layout/process3"/>
    <dgm:cxn modelId="{35D7E0A1-04C5-445B-9F1D-5C9BEC6DEAB4}" srcId="{62336337-2256-44E8-BEDF-0D21DDDF7D43}" destId="{302DE5A1-9305-4288-8145-35C00CDFD2FA}" srcOrd="2" destOrd="0" parTransId="{CA4359B9-91F3-41AA-947E-AD0FDCE8C5B5}" sibTransId="{CB4B2F89-B4FE-40EB-BC37-AEB462AA98B0}"/>
    <dgm:cxn modelId="{CC0B4A5C-A457-413E-A76F-063792EF05F5}" srcId="{62336337-2256-44E8-BEDF-0D21DDDF7D43}" destId="{76E17EC1-61E0-46E4-8B53-890607453538}" srcOrd="3" destOrd="0" parTransId="{B35EE708-5CEA-4D5B-8E7C-BC0764F18771}" sibTransId="{165B1D6C-9FBC-4CBF-B710-56ECBB6AA444}"/>
    <dgm:cxn modelId="{75947C02-7235-446A-86C7-648FEFB5C79C}" type="presOf" srcId="{66C40F82-130A-49FF-AD6B-EE4F27545FD6}" destId="{D9A0BBD1-BFCD-441D-8BC5-787F453ABEE7}" srcOrd="0" destOrd="1" presId="urn:microsoft.com/office/officeart/2005/8/layout/process3"/>
    <dgm:cxn modelId="{AB198720-2926-4AD4-9494-9806FC8492DE}" type="presOf" srcId="{E8D971C7-0392-434A-9A87-51DDEE9B0DE4}" destId="{4D74D433-1408-4A55-BE73-209C3A36A2FF}" srcOrd="1" destOrd="0" presId="urn:microsoft.com/office/officeart/2005/8/layout/process3"/>
    <dgm:cxn modelId="{A5B78FC1-1B9B-4D03-A13F-67730B713DF9}" srcId="{76E17EC1-61E0-46E4-8B53-890607453538}" destId="{C5674ACE-2BBD-4A67-B860-7F29C760F253}" srcOrd="3" destOrd="0" parTransId="{9F501CD1-238B-4E06-BEE5-7FECA3329570}" sibTransId="{5BC61835-A186-4E70-8237-19DDB13A1FF6}"/>
    <dgm:cxn modelId="{0EBFDC31-E8D9-4DE9-8B18-5890833504F1}" srcId="{12CB4909-2A43-44E2-B35A-56AF72E51FC3}" destId="{26F965D3-4640-4AB4-ADB9-0D104A97D8C6}" srcOrd="0" destOrd="0" parTransId="{30C9086A-A873-4779-A238-8CE3847D3EB8}" sibTransId="{0635CFA3-0257-42E1-BBFD-28DB9E3E6678}"/>
    <dgm:cxn modelId="{E9C86F46-4C4E-4107-96E8-D3B28ACD0E72}" srcId="{C2C72F27-2098-4705-897B-44A484D71828}" destId="{36E9CBAE-C3D4-4953-B6E3-63441700CBC2}" srcOrd="2" destOrd="0" parTransId="{4DA2C8F3-BE29-4A76-B7F5-E9AA9E02884D}" sibTransId="{1A889ECF-A9E8-44F5-B027-C75A21738FE5}"/>
    <dgm:cxn modelId="{183E5C24-6DE5-4FF1-976C-ECAD7436E4B4}" srcId="{302DE5A1-9305-4288-8145-35C00CDFD2FA}" destId="{00772AB7-786C-4923-B1AB-A4A46705A80E}" srcOrd="3" destOrd="0" parTransId="{793E2295-A697-4103-A667-629DD940D007}" sibTransId="{F9B67195-2A1B-4648-929B-4DF30F7F3A88}"/>
    <dgm:cxn modelId="{2FC4AAD4-DD9D-4701-92C5-DCFB328A1377}" srcId="{302DE5A1-9305-4288-8145-35C00CDFD2FA}" destId="{DC72F786-5F58-4327-BF53-BC67B4DB65B3}" srcOrd="4" destOrd="0" parTransId="{B2EC95E4-9AA7-4231-A7DC-ADAB6D1BEF66}" sibTransId="{A4739F22-E57C-4250-BB17-FE354432370B}"/>
    <dgm:cxn modelId="{9719A9A2-FBB0-4265-85E4-917E57B09410}" type="presOf" srcId="{76E17EC1-61E0-46E4-8B53-890607453538}" destId="{4F340094-70AB-453E-83A9-1508995BD34F}" srcOrd="0" destOrd="0" presId="urn:microsoft.com/office/officeart/2005/8/layout/process3"/>
    <dgm:cxn modelId="{748D9088-26E2-40F8-9647-9446E712A3DC}" type="presOf" srcId="{12CB4909-2A43-44E2-B35A-56AF72E51FC3}" destId="{FA2E93AE-2098-49D0-9473-591D8D191E4B}" srcOrd="1" destOrd="0" presId="urn:microsoft.com/office/officeart/2005/8/layout/process3"/>
    <dgm:cxn modelId="{103E80E3-039F-43F5-924E-A4CD84798CCC}" srcId="{359F2D02-C5C3-433F-B152-DB252EAF9EB7}" destId="{884DFA58-43B3-45CB-98CC-5FDA528D5BA4}" srcOrd="1" destOrd="0" parTransId="{B6FEB3EC-F959-47D9-BD2E-8AD2170FF81A}" sibTransId="{3F390D4D-3A09-4869-8535-CAC9CFAC0FB2}"/>
    <dgm:cxn modelId="{A054C5B3-4757-4308-913B-72CD4ECF1329}" type="presOf" srcId="{00772AB7-786C-4923-B1AB-A4A46705A80E}" destId="{D9A0BBD1-BFCD-441D-8BC5-787F453ABEE7}" srcOrd="0" destOrd="3" presId="urn:microsoft.com/office/officeart/2005/8/layout/process3"/>
    <dgm:cxn modelId="{52B93FE2-4D29-483D-992C-1FBE1287CCE5}" type="presOf" srcId="{6815642F-7A09-4BD3-87F5-0CC353223A98}" destId="{DD876723-B8B5-4B58-AC90-014762D7785A}" srcOrd="0" destOrd="6" presId="urn:microsoft.com/office/officeart/2005/8/layout/process3"/>
    <dgm:cxn modelId="{EFD367CA-468E-4572-926E-EC6C452D5DA6}" type="presOf" srcId="{1A2EF02F-5CE5-465B-A963-5EB32309EBEF}" destId="{AFFB2D65-4339-4B6C-9E0F-7BB072B24077}" srcOrd="0" destOrd="0" presId="urn:microsoft.com/office/officeart/2005/8/layout/process3"/>
    <dgm:cxn modelId="{9C03967A-B4DE-4C74-9198-FBC67E1FF1C2}" srcId="{76E17EC1-61E0-46E4-8B53-890607453538}" destId="{C204AE27-2CB6-4811-8228-EC61C09ECE74}" srcOrd="7" destOrd="0" parTransId="{289CC6EB-5BBA-4EB7-B048-52912C432DB5}" sibTransId="{CC5A2447-3E4C-4B73-A011-6594A5646DF3}"/>
    <dgm:cxn modelId="{7BE4A6B3-673C-4C11-A7D1-18DE0AACB13B}" type="presOf" srcId="{62336337-2256-44E8-BEDF-0D21DDDF7D43}" destId="{ACF87BA0-827E-4067-A56D-21C8EBED5E85}" srcOrd="0" destOrd="0" presId="urn:microsoft.com/office/officeart/2005/8/layout/process3"/>
    <dgm:cxn modelId="{3488EAA9-7804-4DF6-9661-11D2B1BFF390}" type="presOf" srcId="{26F965D3-4640-4AB4-ADB9-0D104A97D8C6}" destId="{51B30C7F-40A0-4F75-AF53-AB05C04F6C8A}" srcOrd="0" destOrd="0" presId="urn:microsoft.com/office/officeart/2005/8/layout/process3"/>
    <dgm:cxn modelId="{4FB15698-35C5-4D87-8CCF-F00BA06BF558}" type="presOf" srcId="{9A00C785-02EE-4B72-A732-750470EBE37B}" destId="{C050ADDE-7216-451F-BC25-5CD750E8A8C4}" srcOrd="0" destOrd="3" presId="urn:microsoft.com/office/officeart/2005/8/layout/process3"/>
    <dgm:cxn modelId="{FAFB549E-DA1B-4C9D-BCB4-20376AAE53B9}" srcId="{359F2D02-C5C3-433F-B152-DB252EAF9EB7}" destId="{AE0E33B2-1A70-4018-80E7-22BDFCA365E3}" srcOrd="0" destOrd="0" parTransId="{E9558E2E-1E13-4F66-A40B-B3EE3A8D7A2D}" sibTransId="{E8E036B7-C0B2-415B-8C1F-E21CD2092799}"/>
    <dgm:cxn modelId="{808D2B1E-7692-421F-A87C-608A59D28967}" srcId="{76E17EC1-61E0-46E4-8B53-890607453538}" destId="{7EFB80DE-C3E0-4664-8DE5-7967BD82D9AB}" srcOrd="1" destOrd="0" parTransId="{B442FF71-C8B8-4920-A966-01469A2E1B79}" sibTransId="{A0E7CB7A-4C14-4A8C-BFE1-49276ACD55CD}"/>
    <dgm:cxn modelId="{DEC0463A-7C7E-4FD5-ABDC-0D4556C2325D}" type="presOf" srcId="{E8D971C7-0392-434A-9A87-51DDEE9B0DE4}" destId="{C165C9B8-2DE0-4EE0-A731-BE012A27C5BE}" srcOrd="0" destOrd="0" presId="urn:microsoft.com/office/officeart/2005/8/layout/process3"/>
    <dgm:cxn modelId="{FEE9F2B9-2277-4BB3-BD9C-BC0CF5B75374}" type="presOf" srcId="{40A2303F-1873-4F12-B864-579276BDF390}" destId="{128CEE05-57CC-4C50-B4DA-497A9518C86D}" srcOrd="0" destOrd="1" presId="urn:microsoft.com/office/officeart/2005/8/layout/process3"/>
    <dgm:cxn modelId="{0C31D8A5-6F15-4CE5-AA7A-F82E294AC01E}" srcId="{62336337-2256-44E8-BEDF-0D21DDDF7D43}" destId="{12CB4909-2A43-44E2-B35A-56AF72E51FC3}" srcOrd="1" destOrd="0" parTransId="{37F5E0F4-6E7B-42B3-8E6D-BD60485A5D26}" sibTransId="{9AE66A17-1F47-4431-8CB9-F8C13BD797CB}"/>
    <dgm:cxn modelId="{3D313CED-A70C-44DD-B549-E7FA4E8AB806}" srcId="{C2C72F27-2098-4705-897B-44A484D71828}" destId="{4846EA97-7DB8-48BE-968E-AE939301B328}" srcOrd="0" destOrd="0" parTransId="{EDADC7B2-04EB-40FD-9C04-09E7DDC39AC3}" sibTransId="{8A9A6569-8BBF-4269-A1A7-E3AD9BF33B42}"/>
    <dgm:cxn modelId="{B5AD07E8-EDDE-48EA-8D32-DDC0C91FF03F}" type="presOf" srcId="{76E17EC1-61E0-46E4-8B53-890607453538}" destId="{889D9DF3-4176-4A88-BE35-796A6571C501}" srcOrd="1" destOrd="0" presId="urn:microsoft.com/office/officeart/2005/8/layout/process3"/>
    <dgm:cxn modelId="{73D6921D-BE0A-4848-ADC7-3C27D81EF3DA}" srcId="{76E17EC1-61E0-46E4-8B53-890607453538}" destId="{0822EE73-6FCB-4401-8002-B8A72B03EDFA}" srcOrd="0" destOrd="0" parTransId="{29E39213-BE61-4F6C-B189-20D8D47366B6}" sibTransId="{8D6E3A77-2292-41AB-9347-F03632B5A2C6}"/>
    <dgm:cxn modelId="{0A3A052E-5ABC-422B-AB4C-64DC94C55A99}" srcId="{4846EA97-7DB8-48BE-968E-AE939301B328}" destId="{40A2303F-1873-4F12-B864-579276BDF390}" srcOrd="0" destOrd="0" parTransId="{6F6E5FAE-1D38-4FF9-887D-212BE5BD9917}" sibTransId="{6F57CDC3-EE77-4C02-B8FF-7FC18222E005}"/>
    <dgm:cxn modelId="{395EBF84-B9B0-484E-BE3F-7A4F90A7612A}" type="presOf" srcId="{359F2D02-C5C3-433F-B152-DB252EAF9EB7}" destId="{809C96F8-8B57-4C7A-A34B-0E734AB4CF8E}" srcOrd="0" destOrd="0" presId="urn:microsoft.com/office/officeart/2005/8/layout/process3"/>
    <dgm:cxn modelId="{1E27F02D-7635-40A4-8B56-F7FF7C17140C}" type="presOf" srcId="{C204AE27-2CB6-4811-8228-EC61C09ECE74}" destId="{DD876723-B8B5-4B58-AC90-014762D7785A}" srcOrd="0" destOrd="7" presId="urn:microsoft.com/office/officeart/2005/8/layout/process3"/>
    <dgm:cxn modelId="{4B0084FC-4ECF-4997-AD99-28660D04FEC7}" type="presOf" srcId="{506D527F-0F36-45BC-8ACE-853B43AEE5BF}" destId="{DD876723-B8B5-4B58-AC90-014762D7785A}" srcOrd="0" destOrd="4" presId="urn:microsoft.com/office/officeart/2005/8/layout/process3"/>
    <dgm:cxn modelId="{752F9EC4-152D-43B9-B368-6F7DCBD2F194}" type="presOf" srcId="{302DE5A1-9305-4288-8145-35C00CDFD2FA}" destId="{998EED1B-FECC-4282-8233-5E08D0136D68}" srcOrd="1" destOrd="0" presId="urn:microsoft.com/office/officeart/2005/8/layout/process3"/>
    <dgm:cxn modelId="{6BC88701-1ED1-47AF-957D-D1BA3897BEF1}" srcId="{302DE5A1-9305-4288-8145-35C00CDFD2FA}" destId="{66C40F82-130A-49FF-AD6B-EE4F27545FD6}" srcOrd="1" destOrd="0" parTransId="{C30E21D3-F872-40D0-97B0-B3D6776247A9}" sibTransId="{FC6AE096-41F9-4885-9F28-761EC0E9145D}"/>
    <dgm:cxn modelId="{EF1CF241-3A53-4AAF-97D4-44236F24F509}" srcId="{12CB4909-2A43-44E2-B35A-56AF72E51FC3}" destId="{09414BD5-A087-4886-AECE-882B04D40713}" srcOrd="4" destOrd="0" parTransId="{CC02299A-3AFA-4908-AA4A-B6F1363571C7}" sibTransId="{512FBC37-751F-4A13-862F-0AAFD2D6AB1B}"/>
    <dgm:cxn modelId="{BEBFAA09-F3DC-44EB-9FA2-E4848DDF252D}" type="presOf" srcId="{36E9CBAE-C3D4-4953-B6E3-63441700CBC2}" destId="{128CEE05-57CC-4C50-B4DA-497A9518C86D}" srcOrd="0" destOrd="3" presId="urn:microsoft.com/office/officeart/2005/8/layout/process3"/>
    <dgm:cxn modelId="{CF63B5EA-E241-4D9B-98B4-1F79F4B86501}" type="presOf" srcId="{09414BD5-A087-4886-AECE-882B04D40713}" destId="{51B30C7F-40A0-4F75-AF53-AB05C04F6C8A}" srcOrd="0" destOrd="4" presId="urn:microsoft.com/office/officeart/2005/8/layout/process3"/>
    <dgm:cxn modelId="{9A957C2F-C1A4-4EB8-BC71-65A0CAA44E40}" type="presOf" srcId="{5C263B98-60F2-4779-8B13-6AF88961101E}" destId="{51B30C7F-40A0-4F75-AF53-AB05C04F6C8A}" srcOrd="0" destOrd="2" presId="urn:microsoft.com/office/officeart/2005/8/layout/process3"/>
    <dgm:cxn modelId="{05B636D9-A4C0-4DBC-B82B-A8F3FDFE9336}" type="presOf" srcId="{7ACBBFF4-2C87-4804-9EE0-EDEEC39B4EED}" destId="{D9A0BBD1-BFCD-441D-8BC5-787F453ABEE7}" srcOrd="0" destOrd="2" presId="urn:microsoft.com/office/officeart/2005/8/layout/process3"/>
    <dgm:cxn modelId="{BEFDEA7C-09CD-4DAF-921B-C7557A0456F0}" type="presOf" srcId="{C2C72F27-2098-4705-897B-44A484D71828}" destId="{AADE1378-D8A4-48EE-A826-5E644960EB3B}" srcOrd="0" destOrd="0" presId="urn:microsoft.com/office/officeart/2005/8/layout/process3"/>
    <dgm:cxn modelId="{A1A01735-A665-4819-9F62-DA49F573567D}" type="presOf" srcId="{9AE66A17-1F47-4431-8CB9-F8C13BD797CB}" destId="{929B5A78-5BA9-45C0-A91A-BE0E6C52788E}" srcOrd="0" destOrd="0" presId="urn:microsoft.com/office/officeart/2005/8/layout/process3"/>
    <dgm:cxn modelId="{CC54C0CC-E41A-4D01-9845-B3670B47675A}" srcId="{C2C72F27-2098-4705-897B-44A484D71828}" destId="{C94E3FC6-C289-4D27-BDA5-878C8C389927}" srcOrd="1" destOrd="0" parTransId="{23BF5F5E-C41E-4821-8BC7-C1018D4C1BDA}" sibTransId="{3A7B6112-F0A8-43F3-A966-65887EC76C22}"/>
    <dgm:cxn modelId="{C5C95B68-250F-4801-8D3D-7DA63D4B09CF}" type="presOf" srcId="{1DD5C18E-B868-4531-9FB3-788818551EFA}" destId="{51B30C7F-40A0-4F75-AF53-AB05C04F6C8A}" srcOrd="0" destOrd="1" presId="urn:microsoft.com/office/officeart/2005/8/layout/process3"/>
    <dgm:cxn modelId="{89ADDB74-7AC3-45F2-92BD-53008B541239}" srcId="{1A2EF02F-5CE5-465B-A963-5EB32309EBEF}" destId="{FD5B08EA-51A7-4581-8649-46B355B22533}" srcOrd="2" destOrd="0" parTransId="{2741991A-B5FB-4721-A646-804153B8D776}" sibTransId="{432D7350-1CD3-45B7-AE9D-BC272AE00E5D}"/>
    <dgm:cxn modelId="{D3963DAF-4D20-4400-8C28-CDD40317C4EB}" type="presOf" srcId="{302DE5A1-9305-4288-8145-35C00CDFD2FA}" destId="{BD38A5FC-4657-46C0-846F-F19F0D488E61}" srcOrd="0" destOrd="0" presId="urn:microsoft.com/office/officeart/2005/8/layout/process3"/>
    <dgm:cxn modelId="{7A3045FF-F4BF-43BF-B97F-84F505E86D6F}" type="presOf" srcId="{359F2D02-C5C3-433F-B152-DB252EAF9EB7}" destId="{C5C0BF84-3D4F-4E45-811F-C8EE91F3D3D5}" srcOrd="1" destOrd="0" presId="urn:microsoft.com/office/officeart/2005/8/layout/process3"/>
    <dgm:cxn modelId="{F3CBCD10-D5B2-4DF6-A23F-0E174A6CE229}" type="presOf" srcId="{9AE66A17-1F47-4431-8CB9-F8C13BD797CB}" destId="{76E6CABA-6F7A-4B1C-96BA-8788729FF877}" srcOrd="1" destOrd="0" presId="urn:microsoft.com/office/officeart/2005/8/layout/process3"/>
    <dgm:cxn modelId="{3F4A5409-AEEE-4507-B95B-6ADC9E7648B7}" srcId="{12CB4909-2A43-44E2-B35A-56AF72E51FC3}" destId="{7497085F-1912-4C01-A4D4-E5ADB4FDFA72}" srcOrd="3" destOrd="0" parTransId="{C0BD48C7-0A1A-4809-88A2-E57957AA8B90}" sibTransId="{720DB68A-5BFA-4D7C-984A-5AD89AA1AEDF}"/>
    <dgm:cxn modelId="{A81B49BC-A7B3-40B0-BDBC-2EF7F2C0E28E}" srcId="{359F2D02-C5C3-433F-B152-DB252EAF9EB7}" destId="{69F988BE-0307-43E0-BDE4-311FD77C85CB}" srcOrd="2" destOrd="0" parTransId="{BEE02001-D430-4E52-B4ED-48C7788C3BDD}" sibTransId="{4A4ED422-539B-4EE6-9D3D-A16D1D2C5AF3}"/>
    <dgm:cxn modelId="{0F2F315D-7129-478E-B115-1E3EB8862937}" type="presOf" srcId="{165B1D6C-9FBC-4CBF-B710-56ECBB6AA444}" destId="{A99077AE-9CE9-451A-96B0-EBF67396907B}" srcOrd="1" destOrd="0" presId="urn:microsoft.com/office/officeart/2005/8/layout/process3"/>
    <dgm:cxn modelId="{7D3D632A-8112-4B58-A3D3-B1AF5DB2F94F}" type="presParOf" srcId="{ACF87BA0-827E-4067-A56D-21C8EBED5E85}" destId="{C6C43FEE-5274-496D-8589-E739FE48E676}" srcOrd="0" destOrd="0" presId="urn:microsoft.com/office/officeart/2005/8/layout/process3"/>
    <dgm:cxn modelId="{E60BB618-05A2-472B-BA5A-2C49B5FBB2F8}" type="presParOf" srcId="{C6C43FEE-5274-496D-8589-E739FE48E676}" destId="{AADE1378-D8A4-48EE-A826-5E644960EB3B}" srcOrd="0" destOrd="0" presId="urn:microsoft.com/office/officeart/2005/8/layout/process3"/>
    <dgm:cxn modelId="{DBF6C350-4367-4889-B55E-BF87976F833E}" type="presParOf" srcId="{C6C43FEE-5274-496D-8589-E739FE48E676}" destId="{1A705A68-C9BC-403B-93F4-E7F1CB006A9D}" srcOrd="1" destOrd="0" presId="urn:microsoft.com/office/officeart/2005/8/layout/process3"/>
    <dgm:cxn modelId="{83315994-53A8-4780-AB48-2910D44F9486}" type="presParOf" srcId="{C6C43FEE-5274-496D-8589-E739FE48E676}" destId="{128CEE05-57CC-4C50-B4DA-497A9518C86D}" srcOrd="2" destOrd="0" presId="urn:microsoft.com/office/officeart/2005/8/layout/process3"/>
    <dgm:cxn modelId="{586C0BFA-6749-441E-BE0C-0FCF0B8626D2}" type="presParOf" srcId="{ACF87BA0-827E-4067-A56D-21C8EBED5E85}" destId="{FAE79DA8-096B-4864-B765-C027EED0FC91}" srcOrd="1" destOrd="0" presId="urn:microsoft.com/office/officeart/2005/8/layout/process3"/>
    <dgm:cxn modelId="{2AF4DDA7-CEA0-4738-8F1E-BC91AB3AF530}" type="presParOf" srcId="{FAE79DA8-096B-4864-B765-C027EED0FC91}" destId="{ADE21065-ADA0-488A-A9E9-714DC420FA32}" srcOrd="0" destOrd="0" presId="urn:microsoft.com/office/officeart/2005/8/layout/process3"/>
    <dgm:cxn modelId="{D88FA196-290C-4D6F-BAF5-6D04234BB003}" type="presParOf" srcId="{ACF87BA0-827E-4067-A56D-21C8EBED5E85}" destId="{CAA6BA3B-0F9A-4F26-8076-0536A3EE0DF8}" srcOrd="2" destOrd="0" presId="urn:microsoft.com/office/officeart/2005/8/layout/process3"/>
    <dgm:cxn modelId="{F99E444B-B4E0-40F1-8C06-2604BA42FE55}" type="presParOf" srcId="{CAA6BA3B-0F9A-4F26-8076-0536A3EE0DF8}" destId="{DF24A95D-A3FD-48ED-A7FF-4792ED8736F8}" srcOrd="0" destOrd="0" presId="urn:microsoft.com/office/officeart/2005/8/layout/process3"/>
    <dgm:cxn modelId="{5E5CF6F1-4F51-4D67-B5B3-8C6547FBDEEC}" type="presParOf" srcId="{CAA6BA3B-0F9A-4F26-8076-0536A3EE0DF8}" destId="{FA2E93AE-2098-49D0-9473-591D8D191E4B}" srcOrd="1" destOrd="0" presId="urn:microsoft.com/office/officeart/2005/8/layout/process3"/>
    <dgm:cxn modelId="{52ECD306-5BAB-40CD-A8A8-9EDDF9D53192}" type="presParOf" srcId="{CAA6BA3B-0F9A-4F26-8076-0536A3EE0DF8}" destId="{51B30C7F-40A0-4F75-AF53-AB05C04F6C8A}" srcOrd="2" destOrd="0" presId="urn:microsoft.com/office/officeart/2005/8/layout/process3"/>
    <dgm:cxn modelId="{5FF54BF4-AAF1-49D6-9402-8E9F02726791}" type="presParOf" srcId="{ACF87BA0-827E-4067-A56D-21C8EBED5E85}" destId="{929B5A78-5BA9-45C0-A91A-BE0E6C52788E}" srcOrd="3" destOrd="0" presId="urn:microsoft.com/office/officeart/2005/8/layout/process3"/>
    <dgm:cxn modelId="{2E130B68-38DB-4835-9137-0BA56CC7D92E}" type="presParOf" srcId="{929B5A78-5BA9-45C0-A91A-BE0E6C52788E}" destId="{76E6CABA-6F7A-4B1C-96BA-8788729FF877}" srcOrd="0" destOrd="0" presId="urn:microsoft.com/office/officeart/2005/8/layout/process3"/>
    <dgm:cxn modelId="{89537EA1-8F1B-4AD3-9F88-BCC08A3AAA34}" type="presParOf" srcId="{ACF87BA0-827E-4067-A56D-21C8EBED5E85}" destId="{BA82BDA4-9F0F-4CB9-839E-206808C3A19F}" srcOrd="4" destOrd="0" presId="urn:microsoft.com/office/officeart/2005/8/layout/process3"/>
    <dgm:cxn modelId="{D66A295A-8BEC-4A7D-8829-20BF8160B2A7}" type="presParOf" srcId="{BA82BDA4-9F0F-4CB9-839E-206808C3A19F}" destId="{BD38A5FC-4657-46C0-846F-F19F0D488E61}" srcOrd="0" destOrd="0" presId="urn:microsoft.com/office/officeart/2005/8/layout/process3"/>
    <dgm:cxn modelId="{EA9B49E0-0203-4F3E-9EA6-CA707AE5367F}" type="presParOf" srcId="{BA82BDA4-9F0F-4CB9-839E-206808C3A19F}" destId="{998EED1B-FECC-4282-8233-5E08D0136D68}" srcOrd="1" destOrd="0" presId="urn:microsoft.com/office/officeart/2005/8/layout/process3"/>
    <dgm:cxn modelId="{F058893B-3FAF-498F-AA0E-632248318DE7}" type="presParOf" srcId="{BA82BDA4-9F0F-4CB9-839E-206808C3A19F}" destId="{D9A0BBD1-BFCD-441D-8BC5-787F453ABEE7}" srcOrd="2" destOrd="0" presId="urn:microsoft.com/office/officeart/2005/8/layout/process3"/>
    <dgm:cxn modelId="{19ABEC0D-4BE8-4B4B-A466-B3877B4506CA}" type="presParOf" srcId="{ACF87BA0-827E-4067-A56D-21C8EBED5E85}" destId="{506AF0BC-7FDA-4F72-84D9-8B947B6511BE}" srcOrd="5" destOrd="0" presId="urn:microsoft.com/office/officeart/2005/8/layout/process3"/>
    <dgm:cxn modelId="{DD015F10-88E7-4B13-9C4E-C26B4207340A}" type="presParOf" srcId="{506AF0BC-7FDA-4F72-84D9-8B947B6511BE}" destId="{9D47DC27-6795-45C1-BFB7-7F7583463F16}" srcOrd="0" destOrd="0" presId="urn:microsoft.com/office/officeart/2005/8/layout/process3"/>
    <dgm:cxn modelId="{30050FD5-2D79-4A2B-ADE7-534FCD3E9FBD}" type="presParOf" srcId="{ACF87BA0-827E-4067-A56D-21C8EBED5E85}" destId="{2FA06715-4332-4CFC-8EA1-07CEC270DCA2}" srcOrd="6" destOrd="0" presId="urn:microsoft.com/office/officeart/2005/8/layout/process3"/>
    <dgm:cxn modelId="{52949DCC-D22A-4276-A761-19C4AF8114C5}" type="presParOf" srcId="{2FA06715-4332-4CFC-8EA1-07CEC270DCA2}" destId="{4F340094-70AB-453E-83A9-1508995BD34F}" srcOrd="0" destOrd="0" presId="urn:microsoft.com/office/officeart/2005/8/layout/process3"/>
    <dgm:cxn modelId="{48A874C1-C796-4FDD-9AA3-BEE6F4502107}" type="presParOf" srcId="{2FA06715-4332-4CFC-8EA1-07CEC270DCA2}" destId="{889D9DF3-4176-4A88-BE35-796A6571C501}" srcOrd="1" destOrd="0" presId="urn:microsoft.com/office/officeart/2005/8/layout/process3"/>
    <dgm:cxn modelId="{CAEEB0CE-A195-4763-ABE5-FE2BEF71B9FD}" type="presParOf" srcId="{2FA06715-4332-4CFC-8EA1-07CEC270DCA2}" destId="{DD876723-B8B5-4B58-AC90-014762D7785A}" srcOrd="2" destOrd="0" presId="urn:microsoft.com/office/officeart/2005/8/layout/process3"/>
    <dgm:cxn modelId="{63F92EEF-88F0-48A5-999B-A53066FA3F7A}" type="presParOf" srcId="{ACF87BA0-827E-4067-A56D-21C8EBED5E85}" destId="{B6FCCECD-0E52-4245-BDCB-B65F0C81F2CF}" srcOrd="7" destOrd="0" presId="urn:microsoft.com/office/officeart/2005/8/layout/process3"/>
    <dgm:cxn modelId="{3226738C-BDC9-4378-84DA-10E67E301CC1}" type="presParOf" srcId="{B6FCCECD-0E52-4245-BDCB-B65F0C81F2CF}" destId="{A99077AE-9CE9-451A-96B0-EBF67396907B}" srcOrd="0" destOrd="0" presId="urn:microsoft.com/office/officeart/2005/8/layout/process3"/>
    <dgm:cxn modelId="{85144310-E44F-4745-A1F5-1D70C7BB51A7}" type="presParOf" srcId="{ACF87BA0-827E-4067-A56D-21C8EBED5E85}" destId="{FB95C09F-CBA2-4381-95F4-A8EA4002C22E}" srcOrd="8" destOrd="0" presId="urn:microsoft.com/office/officeart/2005/8/layout/process3"/>
    <dgm:cxn modelId="{20BAA5CF-1440-495F-B1EF-258D4FAE09EC}" type="presParOf" srcId="{FB95C09F-CBA2-4381-95F4-A8EA4002C22E}" destId="{AFFB2D65-4339-4B6C-9E0F-7BB072B24077}" srcOrd="0" destOrd="0" presId="urn:microsoft.com/office/officeart/2005/8/layout/process3"/>
    <dgm:cxn modelId="{F92F1ACD-76C3-4557-B26C-C19809F1E2D6}" type="presParOf" srcId="{FB95C09F-CBA2-4381-95F4-A8EA4002C22E}" destId="{EA5293F9-1836-41E9-8CD6-654A611A4AAD}" srcOrd="1" destOrd="0" presId="urn:microsoft.com/office/officeart/2005/8/layout/process3"/>
    <dgm:cxn modelId="{20BB1F48-27E0-4BA0-B1AA-386BEBEC9118}" type="presParOf" srcId="{FB95C09F-CBA2-4381-95F4-A8EA4002C22E}" destId="{49A41B1A-CE5A-465C-8219-E986C23B9447}" srcOrd="2" destOrd="0" presId="urn:microsoft.com/office/officeart/2005/8/layout/process3"/>
    <dgm:cxn modelId="{0F6CBD1B-022A-4573-9644-4B661D602701}" type="presParOf" srcId="{ACF87BA0-827E-4067-A56D-21C8EBED5E85}" destId="{C165C9B8-2DE0-4EE0-A731-BE012A27C5BE}" srcOrd="9" destOrd="0" presId="urn:microsoft.com/office/officeart/2005/8/layout/process3"/>
    <dgm:cxn modelId="{1FE94DCE-1265-4DE0-AA34-B2E24C044350}" type="presParOf" srcId="{C165C9B8-2DE0-4EE0-A731-BE012A27C5BE}" destId="{4D74D433-1408-4A55-BE73-209C3A36A2FF}" srcOrd="0" destOrd="0" presId="urn:microsoft.com/office/officeart/2005/8/layout/process3"/>
    <dgm:cxn modelId="{2A8D4904-610B-44B0-B1EC-8DBA1525CFD4}" type="presParOf" srcId="{ACF87BA0-827E-4067-A56D-21C8EBED5E85}" destId="{0171B525-D1F9-4334-85BB-38BDC9E45F2C}" srcOrd="10" destOrd="0" presId="urn:microsoft.com/office/officeart/2005/8/layout/process3"/>
    <dgm:cxn modelId="{81BA3C99-C5EC-4BDB-99E2-1E93668EE890}" type="presParOf" srcId="{0171B525-D1F9-4334-85BB-38BDC9E45F2C}" destId="{809C96F8-8B57-4C7A-A34B-0E734AB4CF8E}" srcOrd="0" destOrd="0" presId="urn:microsoft.com/office/officeart/2005/8/layout/process3"/>
    <dgm:cxn modelId="{05602AA8-47C7-4F2C-A6D4-2201FF794B50}" type="presParOf" srcId="{0171B525-D1F9-4334-85BB-38BDC9E45F2C}" destId="{C5C0BF84-3D4F-4E45-811F-C8EE91F3D3D5}" srcOrd="1" destOrd="0" presId="urn:microsoft.com/office/officeart/2005/8/layout/process3"/>
    <dgm:cxn modelId="{BAC6C51D-CD41-450C-B8AD-CEAC4F31C90E}" type="presParOf" srcId="{0171B525-D1F9-4334-85BB-38BDC9E45F2C}" destId="{C050ADDE-7216-451F-BC25-5CD750E8A8C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97130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Setup inicial do Projeto RAID-FMS</a:t>
          </a:r>
          <a:endParaRPr lang="pt-BR" sz="1500" kern="1200" dirty="0">
            <a:latin typeface="Simplon BP Regular" pitchFamily="2" charset="0"/>
          </a:endParaRPr>
        </a:p>
      </dsp:txBody>
      <dsp:txXfrm>
        <a:off x="497130" y="1182405"/>
        <a:ext cx="1732725" cy="835039"/>
      </dsp:txXfrm>
    </dsp:sp>
    <dsp:sp modelId="{46B25F0D-D431-4949-81A0-676174D34183}">
      <dsp:nvSpPr>
        <dsp:cNvPr id="0" name=""/>
        <dsp:cNvSpPr/>
      </dsp:nvSpPr>
      <dsp:spPr>
        <a:xfrm>
          <a:off x="1504848" y="2653867"/>
          <a:ext cx="723502" cy="723502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64795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DEV/HML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647958" y="3660868"/>
        <a:ext cx="1498888" cy="722708"/>
      </dsp:txXfrm>
    </dsp:sp>
    <dsp:sp modelId="{A1AA65C6-9A13-4697-920B-109CDD4DDA94}">
      <dsp:nvSpPr>
        <dsp:cNvPr id="0" name=""/>
        <dsp:cNvSpPr/>
      </dsp:nvSpPr>
      <dsp:spPr>
        <a:xfrm rot="17700000">
          <a:off x="1586352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333230" y="2653867"/>
          <a:ext cx="723502" cy="723502"/>
        </a:xfrm>
        <a:prstGeom prst="ellipse">
          <a:avLst/>
        </a:prstGeom>
        <a:solidFill>
          <a:schemeClr val="accent6">
            <a:shade val="80000"/>
            <a:hueOff val="48399"/>
            <a:satOff val="-3294"/>
            <a:lumOff val="38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47634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1476340" y="3660868"/>
        <a:ext cx="1498888" cy="722708"/>
      </dsp:txXfrm>
    </dsp:sp>
    <dsp:sp modelId="{E0FD4796-E7AB-488D-9336-DB3CCBEFE335}">
      <dsp:nvSpPr>
        <dsp:cNvPr id="0" name=""/>
        <dsp:cNvSpPr/>
      </dsp:nvSpPr>
      <dsp:spPr>
        <a:xfrm rot="17700000">
          <a:off x="2414734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161612" y="2653867"/>
          <a:ext cx="723502" cy="723502"/>
        </a:xfrm>
        <a:prstGeom prst="ellipse">
          <a:avLst/>
        </a:prstGeom>
        <a:solidFill>
          <a:schemeClr val="accent6">
            <a:shade val="80000"/>
            <a:hueOff val="96798"/>
            <a:satOff val="-6589"/>
            <a:lumOff val="77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30472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1- 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304722" y="3660868"/>
        <a:ext cx="1498888" cy="722708"/>
      </dsp:txXfrm>
    </dsp:sp>
    <dsp:sp modelId="{0566B732-D545-48BE-881E-52A791DA4ABA}">
      <dsp:nvSpPr>
        <dsp:cNvPr id="0" name=""/>
        <dsp:cNvSpPr/>
      </dsp:nvSpPr>
      <dsp:spPr>
        <a:xfrm rot="17700000">
          <a:off x="3243116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8A808A-6D31-491D-BE3F-A489F02F644F}">
      <dsp:nvSpPr>
        <dsp:cNvPr id="0" name=""/>
        <dsp:cNvSpPr/>
      </dsp:nvSpPr>
      <dsp:spPr>
        <a:xfrm>
          <a:off x="3989994" y="2653867"/>
          <a:ext cx="723502" cy="723502"/>
        </a:xfrm>
        <a:prstGeom prst="ellipse">
          <a:avLst/>
        </a:prstGeom>
        <a:solidFill>
          <a:schemeClr val="accent6">
            <a:shade val="80000"/>
            <a:hueOff val="145197"/>
            <a:satOff val="-9883"/>
            <a:lumOff val="11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385588-CEE7-4921-86D6-5DB56F25733B}">
      <dsp:nvSpPr>
        <dsp:cNvPr id="0" name=""/>
        <dsp:cNvSpPr/>
      </dsp:nvSpPr>
      <dsp:spPr>
        <a:xfrm rot="17700000">
          <a:off x="313310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quisição Infra PRD – NDS/SI</a:t>
          </a:r>
          <a:endParaRPr lang="pt-BR" sz="1300" kern="1200" dirty="0">
            <a:latin typeface="Simplon BP Regular" pitchFamily="2" charset="0"/>
          </a:endParaRPr>
        </a:p>
      </dsp:txBody>
      <dsp:txXfrm>
        <a:off x="3133104" y="3660868"/>
        <a:ext cx="1498888" cy="722708"/>
      </dsp:txXfrm>
    </dsp:sp>
    <dsp:sp modelId="{9E2EB3AE-AB40-4FF6-81BC-67DD2E149D07}">
      <dsp:nvSpPr>
        <dsp:cNvPr id="0" name=""/>
        <dsp:cNvSpPr/>
      </dsp:nvSpPr>
      <dsp:spPr>
        <a:xfrm rot="17700000">
          <a:off x="4071498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818487" y="2318687"/>
          <a:ext cx="1393861" cy="1393861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5309621" y="1182405"/>
          <a:ext cx="1732725" cy="8350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0" rIns="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kern="1200" dirty="0" smtClean="0">
              <a:latin typeface="Simplon BP Regular" pitchFamily="2" charset="0"/>
            </a:rPr>
            <a:t>Programa 1 Cadastro/Subscrição e Score externo</a:t>
          </a:r>
          <a:endParaRPr lang="pt-BR" sz="1500" kern="1200" dirty="0">
            <a:latin typeface="Simplon BP Regular" pitchFamily="2" charset="0"/>
          </a:endParaRPr>
        </a:p>
      </dsp:txBody>
      <dsp:txXfrm>
        <a:off x="5309621" y="1182405"/>
        <a:ext cx="1732725" cy="835039"/>
      </dsp:txXfrm>
    </dsp:sp>
    <dsp:sp modelId="{8DBDFD54-FA06-4E78-B1F9-B5C24B106AA5}">
      <dsp:nvSpPr>
        <dsp:cNvPr id="0" name=""/>
        <dsp:cNvSpPr/>
      </dsp:nvSpPr>
      <dsp:spPr>
        <a:xfrm>
          <a:off x="6317340" y="2653867"/>
          <a:ext cx="723502" cy="723502"/>
        </a:xfrm>
        <a:prstGeom prst="ellipse">
          <a:avLst/>
        </a:prstGeom>
        <a:solidFill>
          <a:schemeClr val="accent6">
            <a:shade val="80000"/>
            <a:hueOff val="193596"/>
            <a:satOff val="-13177"/>
            <a:lumOff val="15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546045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2- Motor de Regras [</a:t>
          </a:r>
          <a:r>
            <a:rPr lang="pt-BR" sz="1300" kern="1200" dirty="0" err="1" smtClean="0">
              <a:latin typeface="Simplon BP Regular" pitchFamily="2" charset="0"/>
            </a:rPr>
            <a:t>Qwin</a:t>
          </a:r>
          <a:r>
            <a:rPr lang="pt-BR" sz="1300" kern="1200" dirty="0" smtClean="0">
              <a:latin typeface="Simplon BP Regular" pitchFamily="2" charset="0"/>
            </a:rPr>
            <a:t> TV </a:t>
          </a:r>
          <a:r>
            <a:rPr lang="pt-BR" sz="1300" kern="1200" dirty="0" err="1" smtClean="0">
              <a:latin typeface="Simplon BP Regular" pitchFamily="2" charset="0"/>
            </a:rPr>
            <a:t>offline</a:t>
          </a:r>
          <a:r>
            <a:rPr lang="pt-BR" sz="1300" kern="1200" dirty="0" smtClean="0">
              <a:latin typeface="Simplon BP Regular" pitchFamily="2" charset="0"/>
            </a:rPr>
            <a:t>]</a:t>
          </a:r>
          <a:endParaRPr lang="pt-BR" sz="1300" kern="1200" dirty="0">
            <a:latin typeface="Simplon BP Regular" pitchFamily="2" charset="0"/>
          </a:endParaRPr>
        </a:p>
      </dsp:txBody>
      <dsp:txXfrm>
        <a:off x="5460450" y="3660868"/>
        <a:ext cx="1498888" cy="722708"/>
      </dsp:txXfrm>
    </dsp:sp>
    <dsp:sp modelId="{B8523729-5ED9-4781-9993-ED44EE714E76}">
      <dsp:nvSpPr>
        <dsp:cNvPr id="0" name=""/>
        <dsp:cNvSpPr/>
      </dsp:nvSpPr>
      <dsp:spPr>
        <a:xfrm rot="17700000">
          <a:off x="639884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7145722" y="2653867"/>
          <a:ext cx="723502" cy="723502"/>
        </a:xfrm>
        <a:prstGeom prst="ellipse">
          <a:avLst/>
        </a:prstGeom>
        <a:solidFill>
          <a:schemeClr val="accent6">
            <a:shade val="80000"/>
            <a:hueOff val="241995"/>
            <a:satOff val="-16472"/>
            <a:lumOff val="194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6288832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3- Oi Total 2P Fixo R1/R2 + </a:t>
          </a:r>
          <a:r>
            <a:rPr lang="pt-BR" sz="1300" kern="1200" dirty="0" err="1" smtClean="0">
              <a:latin typeface="Simplon BP Regular" pitchFamily="2" charset="0"/>
            </a:rPr>
            <a:t>Transact</a:t>
          </a:r>
          <a:r>
            <a:rPr lang="pt-BR" sz="1300" kern="1200" dirty="0" smtClean="0">
              <a:latin typeface="Simplon BP Regular" pitchFamily="2" charset="0"/>
            </a:rPr>
            <a:t>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288832" y="3660868"/>
        <a:ext cx="1498888" cy="722708"/>
      </dsp:txXfrm>
    </dsp:sp>
    <dsp:sp modelId="{9D3D5B97-3DE5-4600-B2D0-2F52A3508BAB}">
      <dsp:nvSpPr>
        <dsp:cNvPr id="0" name=""/>
        <dsp:cNvSpPr/>
      </dsp:nvSpPr>
      <dsp:spPr>
        <a:xfrm rot="17700000">
          <a:off x="7227225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7974104" y="2653867"/>
          <a:ext cx="723502" cy="723502"/>
        </a:xfrm>
        <a:prstGeom prst="ellipse">
          <a:avLst/>
        </a:prstGeom>
        <a:solidFill>
          <a:schemeClr val="accent6">
            <a:shade val="80000"/>
            <a:hueOff val="290394"/>
            <a:satOff val="-19766"/>
            <a:lumOff val="23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7117214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4- OI Total 3P -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117214" y="3660868"/>
        <a:ext cx="1498888" cy="722708"/>
      </dsp:txXfrm>
    </dsp:sp>
    <dsp:sp modelId="{2BF1D30D-A645-461B-8B53-6D37647F8F3F}">
      <dsp:nvSpPr>
        <dsp:cNvPr id="0" name=""/>
        <dsp:cNvSpPr/>
      </dsp:nvSpPr>
      <dsp:spPr>
        <a:xfrm rot="17700000">
          <a:off x="8055607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8802486" y="2653867"/>
          <a:ext cx="723502" cy="723502"/>
        </a:xfrm>
        <a:prstGeom prst="ellipse">
          <a:avLst/>
        </a:prstGeom>
        <a:solidFill>
          <a:schemeClr val="accent6">
            <a:shade val="80000"/>
            <a:hueOff val="338793"/>
            <a:satOff val="-23060"/>
            <a:lumOff val="272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7945596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5 &amp; 6- Oi Total + Móvel puro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7945596" y="3660868"/>
        <a:ext cx="1498888" cy="722708"/>
      </dsp:txXfrm>
    </dsp:sp>
    <dsp:sp modelId="{0B76364A-724C-4D60-B742-8B2007D3D83F}">
      <dsp:nvSpPr>
        <dsp:cNvPr id="0" name=""/>
        <dsp:cNvSpPr/>
      </dsp:nvSpPr>
      <dsp:spPr>
        <a:xfrm rot="17700000">
          <a:off x="8883989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9630867" y="2653867"/>
          <a:ext cx="723502" cy="723502"/>
        </a:xfrm>
        <a:prstGeom prst="ellipse">
          <a:avLst/>
        </a:prstGeom>
        <a:solidFill>
          <a:schemeClr val="accent6">
            <a:shade val="80000"/>
            <a:hueOff val="387192"/>
            <a:satOff val="-26355"/>
            <a:lumOff val="311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8773978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1- Interfaces CRM</a:t>
          </a:r>
          <a:endParaRPr lang="pt-BR" sz="1300" kern="1200" dirty="0">
            <a:latin typeface="Simplon BP Regular" pitchFamily="2" charset="0"/>
          </a:endParaRPr>
        </a:p>
      </dsp:txBody>
      <dsp:txXfrm>
        <a:off x="8773978" y="3660868"/>
        <a:ext cx="1498888" cy="722708"/>
      </dsp:txXfrm>
    </dsp:sp>
    <dsp:sp modelId="{9F22E223-C03C-4A17-985E-B8945A116FFF}">
      <dsp:nvSpPr>
        <dsp:cNvPr id="0" name=""/>
        <dsp:cNvSpPr/>
      </dsp:nvSpPr>
      <dsp:spPr>
        <a:xfrm rot="17700000">
          <a:off x="9712371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BFFF2-4320-4695-A3BB-35020D09811E}">
      <dsp:nvSpPr>
        <dsp:cNvPr id="0" name=""/>
        <dsp:cNvSpPr/>
      </dsp:nvSpPr>
      <dsp:spPr>
        <a:xfrm>
          <a:off x="10459249" y="2653867"/>
          <a:ext cx="723502" cy="723502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67B0E9-04E2-44A1-8F25-6FA6F36F33B1}">
      <dsp:nvSpPr>
        <dsp:cNvPr id="0" name=""/>
        <dsp:cNvSpPr/>
      </dsp:nvSpPr>
      <dsp:spPr>
        <a:xfrm rot="17700000">
          <a:off x="9602360" y="3660868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nda7.2- Interfaces </a:t>
          </a:r>
          <a:r>
            <a:rPr lang="pt-BR" sz="1300" kern="1200" dirty="0" err="1" smtClean="0">
              <a:latin typeface="Simplon BP Regular" pitchFamily="2" charset="0"/>
            </a:rPr>
            <a:t>fat</a:t>
          </a:r>
          <a:r>
            <a:rPr lang="pt-BR" sz="1300" kern="1200" dirty="0" smtClean="0">
              <a:latin typeface="Simplon BP Regular" pitchFamily="2" charset="0"/>
            </a:rPr>
            <a:t>/</a:t>
          </a:r>
          <a:r>
            <a:rPr lang="pt-BR" sz="1300" kern="1200" dirty="0" err="1" smtClean="0">
              <a:latin typeface="Simplon BP Regular" pitchFamily="2" charset="0"/>
            </a:rPr>
            <a:t>inad</a:t>
          </a:r>
          <a:r>
            <a:rPr lang="pt-BR" sz="1300" kern="1200" dirty="0" smtClean="0">
              <a:latin typeface="Simplon BP Regular" pitchFamily="2" charset="0"/>
            </a:rPr>
            <a:t>/recargas etc.</a:t>
          </a:r>
          <a:endParaRPr lang="pt-BR" sz="1300" kern="1200" dirty="0">
            <a:latin typeface="Simplon BP Regular" pitchFamily="2" charset="0"/>
          </a:endParaRPr>
        </a:p>
      </dsp:txBody>
      <dsp:txXfrm>
        <a:off x="9602360" y="3660868"/>
        <a:ext cx="1498888" cy="722708"/>
      </dsp:txXfrm>
    </dsp:sp>
    <dsp:sp modelId="{BD4CC4AC-B4AD-4C64-819F-6D2E8601042C}">
      <dsp:nvSpPr>
        <dsp:cNvPr id="0" name=""/>
        <dsp:cNvSpPr/>
      </dsp:nvSpPr>
      <dsp:spPr>
        <a:xfrm rot="17700000">
          <a:off x="10540753" y="1647660"/>
          <a:ext cx="1498888" cy="7227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223" y="0"/>
          <a:ext cx="5384304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7</a:t>
          </a:r>
          <a:endParaRPr lang="pt-BR" sz="3700" kern="1200" dirty="0">
            <a:latin typeface="Simplon BP Regular" pitchFamily="2" charset="0"/>
          </a:endParaRPr>
        </a:p>
      </dsp:txBody>
      <dsp:txXfrm>
        <a:off x="310861" y="0"/>
        <a:ext cx="4765029" cy="619275"/>
      </dsp:txXfrm>
    </dsp:sp>
    <dsp:sp modelId="{BCA014BD-C38E-46FF-A29D-BD8B511B1E5E}">
      <dsp:nvSpPr>
        <dsp:cNvPr id="0" name=""/>
        <dsp:cNvSpPr/>
      </dsp:nvSpPr>
      <dsp:spPr>
        <a:xfrm>
          <a:off x="4889000" y="0"/>
          <a:ext cx="6798169" cy="619275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700" kern="1200" dirty="0" smtClean="0">
              <a:latin typeface="Simplon BP Regular" pitchFamily="2" charset="0"/>
            </a:rPr>
            <a:t>2018</a:t>
          </a:r>
          <a:endParaRPr lang="pt-BR" sz="3700" kern="1200" dirty="0">
            <a:latin typeface="Simplon BP Regular" pitchFamily="2" charset="0"/>
          </a:endParaRPr>
        </a:p>
      </dsp:txBody>
      <dsp:txXfrm>
        <a:off x="5198638" y="0"/>
        <a:ext cx="6178894" cy="6192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05A68-C9BC-403B-93F4-E7F1CB006A9D}">
      <dsp:nvSpPr>
        <dsp:cNvPr id="0" name=""/>
        <dsp:cNvSpPr/>
      </dsp:nvSpPr>
      <dsp:spPr>
        <a:xfrm>
          <a:off x="3016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2 :: Motor de regras e TV </a:t>
          </a:r>
          <a:r>
            <a:rPr lang="pt-BR" sz="900" kern="1200" dirty="0" err="1" smtClean="0">
              <a:latin typeface="Simplon BP Regular" pitchFamily="2" charset="0"/>
            </a:rPr>
            <a:t>Offline</a:t>
          </a:r>
          <a:endParaRPr lang="pt-BR" sz="900" kern="1200" dirty="0">
            <a:latin typeface="Simplon BP Regular" pitchFamily="2" charset="0"/>
          </a:endParaRPr>
        </a:p>
      </dsp:txBody>
      <dsp:txXfrm>
        <a:off x="3016" y="871806"/>
        <a:ext cx="1280007" cy="470527"/>
      </dsp:txXfrm>
    </dsp:sp>
    <dsp:sp modelId="{128CEE05-57CC-4C50-B4DA-497A9518C86D}">
      <dsp:nvSpPr>
        <dsp:cNvPr id="0" name=""/>
        <dsp:cNvSpPr/>
      </dsp:nvSpPr>
      <dsp:spPr>
        <a:xfrm>
          <a:off x="265186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sz="900" kern="1200" dirty="0">
            <a:latin typeface="Simplon BP Regular" pitchFamily="2" charset="0"/>
          </a:endParaRPr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regras online e anomalias, score e recomendação de venda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Portal alarmes, gestão de regras e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302676" y="1379823"/>
        <a:ext cx="1205027" cy="3320945"/>
      </dsp:txXfrm>
    </dsp:sp>
    <dsp:sp modelId="{FAE79DA8-096B-4864-B765-C027EED0FC91}">
      <dsp:nvSpPr>
        <dsp:cNvPr id="0" name=""/>
        <dsp:cNvSpPr/>
      </dsp:nvSpPr>
      <dsp:spPr>
        <a:xfrm>
          <a:off x="1477069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1477069" y="1011464"/>
        <a:ext cx="315769" cy="191210"/>
      </dsp:txXfrm>
    </dsp:sp>
    <dsp:sp modelId="{FA2E93AE-2098-49D0-9473-591D8D191E4B}">
      <dsp:nvSpPr>
        <dsp:cNvPr id="0" name=""/>
        <dsp:cNvSpPr/>
      </dsp:nvSpPr>
      <dsp:spPr>
        <a:xfrm>
          <a:off x="2059202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166920"/>
            <a:satOff val="-10574"/>
            <a:lumOff val="164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3 ::Oi Total 2P+Fixa R1 1P+Transact Online</a:t>
          </a:r>
          <a:endParaRPr lang="pt-BR" sz="900" kern="1200" dirty="0">
            <a:latin typeface="Simplon BP Regular" pitchFamily="2" charset="0"/>
          </a:endParaRPr>
        </a:p>
      </dsp:txBody>
      <dsp:txXfrm>
        <a:off x="2059202" y="871806"/>
        <a:ext cx="1280007" cy="470527"/>
      </dsp:txXfrm>
    </dsp:sp>
    <dsp:sp modelId="{51B30C7F-40A0-4F75-AF53-AB05C04F6C8A}">
      <dsp:nvSpPr>
        <dsp:cNvPr id="0" name=""/>
        <dsp:cNvSpPr/>
      </dsp:nvSpPr>
      <dsp:spPr>
        <a:xfrm>
          <a:off x="2321373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166920"/>
              <a:satOff val="-10574"/>
              <a:lumOff val="1648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score externo </a:t>
          </a:r>
          <a:r>
            <a:rPr lang="pt-BR" sz="900" kern="1200" dirty="0" err="1" smtClean="0">
              <a:latin typeface="Simplon BP Regular" pitchFamily="2" charset="0"/>
            </a:rPr>
            <a:t>Clearsale</a:t>
          </a:r>
          <a:r>
            <a:rPr lang="pt-BR" sz="900" kern="1200" dirty="0" smtClean="0">
              <a:latin typeface="Simplon BP Regular" pitchFamily="2" charset="0"/>
            </a:rPr>
            <a:t> ou Serasa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barramento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r>
            <a:rPr lang="pt-BR" sz="900" kern="1200" dirty="0" smtClean="0">
              <a:latin typeface="Simplon BP Regular" pitchFamily="2" charset="0"/>
            </a:rPr>
            <a:t> onlin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online Propostas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analítico de regras (pesos)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do Portal de alarmes e novos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2358863" y="1379823"/>
        <a:ext cx="1205027" cy="3320945"/>
      </dsp:txXfrm>
    </dsp:sp>
    <dsp:sp modelId="{929B5A78-5BA9-45C0-A91A-BE0E6C52788E}">
      <dsp:nvSpPr>
        <dsp:cNvPr id="0" name=""/>
        <dsp:cNvSpPr/>
      </dsp:nvSpPr>
      <dsp:spPr>
        <a:xfrm>
          <a:off x="3533255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213350"/>
            <a:satOff val="-12923"/>
            <a:lumOff val="166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3533255" y="1011464"/>
        <a:ext cx="315769" cy="191210"/>
      </dsp:txXfrm>
    </dsp:sp>
    <dsp:sp modelId="{998EED1B-FECC-4282-8233-5E08D0136D68}">
      <dsp:nvSpPr>
        <dsp:cNvPr id="0" name=""/>
        <dsp:cNvSpPr/>
      </dsp:nvSpPr>
      <dsp:spPr>
        <a:xfrm>
          <a:off x="4115389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33839"/>
            <a:satOff val="-21148"/>
            <a:lumOff val="329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4/5/6 ::: Oi Total 3P online + Móvel </a:t>
          </a:r>
          <a:r>
            <a:rPr lang="pt-BR" sz="900" kern="1200" dirty="0" err="1" smtClean="0">
              <a:latin typeface="Simplon BP Regular" pitchFamily="2" charset="0"/>
            </a:rPr>
            <a:t>alone</a:t>
          </a:r>
          <a:endParaRPr lang="pt-BR" sz="900" kern="1200" dirty="0">
            <a:latin typeface="Simplon BP Regular" pitchFamily="2" charset="0"/>
          </a:endParaRPr>
        </a:p>
      </dsp:txBody>
      <dsp:txXfrm>
        <a:off x="4115389" y="871806"/>
        <a:ext cx="1280007" cy="470527"/>
      </dsp:txXfrm>
    </dsp:sp>
    <dsp:sp modelId="{D9A0BBD1-BFCD-441D-8BC5-787F453ABEE7}">
      <dsp:nvSpPr>
        <dsp:cNvPr id="0" name=""/>
        <dsp:cNvSpPr/>
      </dsp:nvSpPr>
      <dsp:spPr>
        <a:xfrm>
          <a:off x="4377559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333839"/>
              <a:satOff val="-21148"/>
              <a:lumOff val="329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Regras de prevenção Oi Tota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qualidade do telefone de contato e endereço confiáve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DW cadastro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delos estatísticos avançados 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Portal de alarmes e novos relatórios</a:t>
          </a:r>
          <a:endParaRPr lang="pt-BR" sz="900" kern="1200" dirty="0">
            <a:latin typeface="Simplon BP Regular" pitchFamily="2" charset="0"/>
          </a:endParaRPr>
        </a:p>
      </dsp:txBody>
      <dsp:txXfrm>
        <a:off x="4415049" y="1379823"/>
        <a:ext cx="1205027" cy="3320945"/>
      </dsp:txXfrm>
    </dsp:sp>
    <dsp:sp modelId="{506AF0BC-7FDA-4F72-84D9-8B947B6511BE}">
      <dsp:nvSpPr>
        <dsp:cNvPr id="0" name=""/>
        <dsp:cNvSpPr/>
      </dsp:nvSpPr>
      <dsp:spPr>
        <a:xfrm>
          <a:off x="5589441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426700"/>
            <a:satOff val="-25846"/>
            <a:lumOff val="3324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5589441" y="1011464"/>
        <a:ext cx="315769" cy="191210"/>
      </dsp:txXfrm>
    </dsp:sp>
    <dsp:sp modelId="{889D9DF3-4176-4A88-BE35-796A6571C501}">
      <dsp:nvSpPr>
        <dsp:cNvPr id="0" name=""/>
        <dsp:cNvSpPr/>
      </dsp:nvSpPr>
      <dsp:spPr>
        <a:xfrm>
          <a:off x="6171575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500759"/>
            <a:satOff val="-31722"/>
            <a:lumOff val="494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7.1/7.2 :: CRM,  Recargas e Inadimplência</a:t>
          </a:r>
          <a:endParaRPr lang="pt-BR" sz="900" kern="1200" dirty="0">
            <a:latin typeface="Simplon BP Regular" pitchFamily="2" charset="0"/>
          </a:endParaRPr>
        </a:p>
      </dsp:txBody>
      <dsp:txXfrm>
        <a:off x="6171575" y="871806"/>
        <a:ext cx="1280007" cy="470527"/>
      </dsp:txXfrm>
    </dsp:sp>
    <dsp:sp modelId="{DD876723-B8B5-4B58-AC90-014762D7785A}">
      <dsp:nvSpPr>
        <dsp:cNvPr id="0" name=""/>
        <dsp:cNvSpPr/>
      </dsp:nvSpPr>
      <dsp:spPr>
        <a:xfrm>
          <a:off x="6433745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500759"/>
              <a:satOff val="-31722"/>
              <a:lumOff val="4945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sz="900" kern="1200" dirty="0" err="1" smtClean="0">
              <a:latin typeface="Simplon BP Regular" pitchFamily="2" charset="0"/>
            </a:rPr>
            <a:t>full</a:t>
          </a:r>
          <a:r>
            <a:rPr lang="pt-BR" sz="900" kern="1200" dirty="0" smtClean="0">
              <a:latin typeface="Simplon BP Regular" pitchFamily="2" charset="0"/>
            </a:rPr>
            <a:t> 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31Global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qualidade de venda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recargas de pré-pago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score de migração </a:t>
          </a:r>
          <a:r>
            <a:rPr lang="pt-BR" sz="900" kern="1200" dirty="0" err="1" smtClean="0">
              <a:latin typeface="Simplon BP Regular" pitchFamily="2" charset="0"/>
            </a:rPr>
            <a:t>pré-pós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base </a:t>
          </a:r>
          <a:r>
            <a:rPr lang="pt-BR" sz="900" kern="1200" dirty="0" err="1" smtClean="0">
              <a:latin typeface="Simplon BP Regular" pitchFamily="2" charset="0"/>
            </a:rPr>
            <a:t>transact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e carga com bases de inadimplência.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sz="900" kern="1200" dirty="0">
            <a:latin typeface="Simplon BP Regular" pitchFamily="2" charset="0"/>
          </a:endParaRPr>
        </a:p>
      </dsp:txBody>
      <dsp:txXfrm>
        <a:off x="6471235" y="1379823"/>
        <a:ext cx="1205027" cy="3320945"/>
      </dsp:txXfrm>
    </dsp:sp>
    <dsp:sp modelId="{B6FCCECD-0E52-4245-BDCB-B65F0C81F2CF}">
      <dsp:nvSpPr>
        <dsp:cNvPr id="0" name=""/>
        <dsp:cNvSpPr/>
      </dsp:nvSpPr>
      <dsp:spPr>
        <a:xfrm>
          <a:off x="7645628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426700"/>
            <a:satOff val="-25846"/>
            <a:lumOff val="3324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7645628" y="1011464"/>
        <a:ext cx="315769" cy="191210"/>
      </dsp:txXfrm>
    </dsp:sp>
    <dsp:sp modelId="{EA5293F9-1836-41E9-8CD6-654A611A4AAD}">
      <dsp:nvSpPr>
        <dsp:cNvPr id="0" name=""/>
        <dsp:cNvSpPr/>
      </dsp:nvSpPr>
      <dsp:spPr>
        <a:xfrm>
          <a:off x="8227761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333839"/>
            <a:satOff val="-21148"/>
            <a:lumOff val="329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s 8/9 :: Oi Fibra e Telas Operação de Crédito</a:t>
          </a:r>
          <a:endParaRPr lang="pt-BR" sz="900" kern="1200" dirty="0">
            <a:latin typeface="Simplon BP Regular" pitchFamily="2" charset="0"/>
          </a:endParaRPr>
        </a:p>
      </dsp:txBody>
      <dsp:txXfrm>
        <a:off x="8227761" y="871806"/>
        <a:ext cx="1280007" cy="470527"/>
      </dsp:txXfrm>
    </dsp:sp>
    <dsp:sp modelId="{49A41B1A-CE5A-465C-8219-E986C23B9447}">
      <dsp:nvSpPr>
        <dsp:cNvPr id="0" name=""/>
        <dsp:cNvSpPr/>
      </dsp:nvSpPr>
      <dsp:spPr>
        <a:xfrm>
          <a:off x="8489932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333839"/>
              <a:satOff val="-21148"/>
              <a:lumOff val="329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Regras de prevenção Oi Fibra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Telas para o time de operação de crédito (ganho de produtividade no tratamento de propostas derivadas)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8527422" y="1379823"/>
        <a:ext cx="1205027" cy="3320945"/>
      </dsp:txXfrm>
    </dsp:sp>
    <dsp:sp modelId="{C165C9B8-2DE0-4EE0-A731-BE012A27C5BE}">
      <dsp:nvSpPr>
        <dsp:cNvPr id="0" name=""/>
        <dsp:cNvSpPr/>
      </dsp:nvSpPr>
      <dsp:spPr>
        <a:xfrm>
          <a:off x="9701814" y="947727"/>
          <a:ext cx="411374" cy="31868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213350"/>
            <a:satOff val="-12923"/>
            <a:lumOff val="166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700" kern="1200"/>
        </a:p>
      </dsp:txBody>
      <dsp:txXfrm>
        <a:off x="9701814" y="1011464"/>
        <a:ext cx="315769" cy="191210"/>
      </dsp:txXfrm>
    </dsp:sp>
    <dsp:sp modelId="{C5C0BF84-3D4F-4E45-811F-C8EE91F3D3D5}">
      <dsp:nvSpPr>
        <dsp:cNvPr id="0" name=""/>
        <dsp:cNvSpPr/>
      </dsp:nvSpPr>
      <dsp:spPr>
        <a:xfrm>
          <a:off x="10283948" y="871806"/>
          <a:ext cx="1280007" cy="70579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166920"/>
            <a:satOff val="-10574"/>
            <a:lumOff val="164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>
              <a:latin typeface="Simplon BP Regular" pitchFamily="2" charset="0"/>
            </a:rPr>
            <a:t>Onda 10 :: Oi Controle sem fatura</a:t>
          </a:r>
          <a:endParaRPr lang="pt-BR" sz="900" kern="1200" dirty="0">
            <a:latin typeface="Simplon BP Regular" pitchFamily="2" charset="0"/>
          </a:endParaRPr>
        </a:p>
      </dsp:txBody>
      <dsp:txXfrm>
        <a:off x="10283948" y="871806"/>
        <a:ext cx="1280007" cy="470527"/>
      </dsp:txXfrm>
    </dsp:sp>
    <dsp:sp modelId="{C050ADDE-7216-451F-BC25-5CD750E8A8C4}">
      <dsp:nvSpPr>
        <dsp:cNvPr id="0" name=""/>
        <dsp:cNvSpPr/>
      </dsp:nvSpPr>
      <dsp:spPr>
        <a:xfrm>
          <a:off x="10546118" y="1342333"/>
          <a:ext cx="1280007" cy="33959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166920"/>
              <a:satOff val="-10574"/>
              <a:lumOff val="1648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Integração com </a:t>
          </a:r>
          <a:r>
            <a:rPr lang="pt-BR" sz="900" kern="1200" dirty="0" err="1" smtClean="0">
              <a:latin typeface="Simplon BP Regular" pitchFamily="2" charset="0"/>
            </a:rPr>
            <a:t>Clearsale</a:t>
          </a:r>
          <a:r>
            <a:rPr lang="pt-BR" sz="900" kern="1200" dirty="0" smtClean="0">
              <a:latin typeface="Simplon BP Regular" pitchFamily="2" charset="0"/>
            </a:rPr>
            <a:t> para score de risco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kern="1200" dirty="0" smtClean="0">
              <a:latin typeface="Simplon BP Regular" pitchFamily="2" charset="0"/>
            </a:rPr>
            <a:t>Motor score de risco </a:t>
          </a:r>
          <a:r>
            <a:rPr lang="pt-BR" sz="900" kern="1200" dirty="0" err="1" smtClean="0">
              <a:latin typeface="Simplon BP Regular" pitchFamily="2" charset="0"/>
            </a:rPr>
            <a:t>chargeback</a:t>
          </a:r>
          <a:r>
            <a:rPr lang="pt-BR" sz="900" kern="1200" dirty="0" smtClean="0">
              <a:latin typeface="Simplon BP Regular" pitchFamily="2" charset="0"/>
            </a:rPr>
            <a:t> Oi Controle</a:t>
          </a:r>
          <a:endParaRPr lang="pt-BR" sz="90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10583608" y="1379823"/>
        <a:ext cx="1205027" cy="33209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D65EC-5F7C-4E21-BDFD-97DA0CF1B72D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C97045-DDCF-4F6C-8777-D657871AC1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3454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145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1007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4533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97045-DDCF-4F6C-8777-D657871AC191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2833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976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90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667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94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240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732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65792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cha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229896" y="2949967"/>
            <a:ext cx="246237" cy="492420"/>
          </a:xfrm>
          <a:prstGeom prst="rect">
            <a:avLst/>
          </a:prstGeom>
          <a:noFill/>
        </p:spPr>
        <p:txBody>
          <a:bodyPr wrap="none" lIns="121896" tIns="60949" rIns="121896" bIns="60949" rtlCol="0">
            <a:spAutoFit/>
          </a:bodyPr>
          <a:lstStyle/>
          <a:p>
            <a:pPr defTabSz="609463"/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8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344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195663" y="6331975"/>
            <a:ext cx="957255" cy="319981"/>
          </a:xfrm>
          <a:prstGeom prst="rect">
            <a:avLst/>
          </a:prstGeom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874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11744917" y="6488756"/>
            <a:ext cx="408000" cy="163200"/>
          </a:xfrm>
          <a:prstGeom prst="rect">
            <a:avLst/>
          </a:prstGeom>
          <a:noFill/>
        </p:spPr>
        <p:txBody>
          <a:bodyPr/>
          <a:lstStyle/>
          <a:p>
            <a:pPr algn="ctr" defTabSz="609585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 defTabSz="609585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21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5F6F597C-7282-4B68-8635-1AB4C1CF1A07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16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609585"/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09585"/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609585"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217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8" y="366185"/>
            <a:ext cx="7487807" cy="104563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912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4418" y="366186"/>
            <a:ext cx="10943167" cy="950381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24419" y="1892301"/>
            <a:ext cx="5183715" cy="46100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6383867" y="1892301"/>
            <a:ext cx="5183717" cy="4610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501342"/>
            <a:ext cx="10382943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4" y="6501342"/>
            <a:ext cx="589856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609585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609585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8" y="1316336"/>
            <a:ext cx="10943167" cy="4804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2667">
                <a:solidFill>
                  <a:srgbClr val="4D4D4D"/>
                </a:solidFill>
              </a:defRPr>
            </a:lvl1pPr>
            <a:lvl2pPr marL="251876" indent="0">
              <a:buNone/>
              <a:defRPr sz="2800">
                <a:solidFill>
                  <a:schemeClr val="accent3"/>
                </a:solidFill>
              </a:defRPr>
            </a:lvl2pPr>
            <a:lvl3pPr marL="486821" indent="0">
              <a:buNone/>
              <a:defRPr sz="2800">
                <a:solidFill>
                  <a:schemeClr val="accent3"/>
                </a:solidFill>
              </a:defRPr>
            </a:lvl3pPr>
            <a:lvl4pPr marL="721765" indent="0">
              <a:buNone/>
              <a:defRPr sz="2800">
                <a:solidFill>
                  <a:schemeClr val="accent3"/>
                </a:solidFill>
              </a:defRPr>
            </a:lvl4pPr>
            <a:lvl5pPr marL="956709" indent="0">
              <a:buNone/>
              <a:defRPr sz="28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156414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5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4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7" y="3703689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4800" dirty="0" err="1" smtClean="0">
                <a:solidFill>
                  <a:srgbClr val="EA288C"/>
                </a:solidFill>
              </a:rPr>
              <a:t>Insira</a:t>
            </a:r>
            <a:r>
              <a:rPr lang="en-US" sz="4800" dirty="0" smtClean="0">
                <a:solidFill>
                  <a:srgbClr val="EA288C"/>
                </a:solidFill>
              </a:rPr>
              <a:t> o </a:t>
            </a:r>
            <a:r>
              <a:rPr lang="en-US" sz="4800" dirty="0" err="1" smtClean="0">
                <a:solidFill>
                  <a:srgbClr val="EA288C"/>
                </a:solidFill>
              </a:rPr>
              <a:t>Título</a:t>
            </a:r>
            <a:r>
              <a:rPr lang="en-US" sz="4800" dirty="0" smtClean="0">
                <a:solidFill>
                  <a:srgbClr val="EA288C"/>
                </a:solidFill>
              </a:rPr>
              <a:t> do </a:t>
            </a:r>
            <a:r>
              <a:rPr lang="en-US" sz="4800" dirty="0" err="1" smtClean="0">
                <a:solidFill>
                  <a:srgbClr val="EA288C"/>
                </a:solidFill>
              </a:rPr>
              <a:t>projeto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aqui</a:t>
            </a:r>
            <a:r>
              <a:rPr lang="en-US" sz="4800" dirty="0" smtClean="0">
                <a:solidFill>
                  <a:srgbClr val="EA288C"/>
                </a:solidFill>
              </a:rPr>
              <a:t>. </a:t>
            </a:r>
            <a:r>
              <a:rPr lang="en-US" sz="4800" dirty="0" err="1" smtClean="0">
                <a:solidFill>
                  <a:srgbClr val="EA288C"/>
                </a:solidFill>
              </a:rPr>
              <a:t>Lorem</a:t>
            </a:r>
            <a:r>
              <a:rPr lang="en-US" sz="4800" dirty="0" smtClean="0">
                <a:solidFill>
                  <a:srgbClr val="EA288C"/>
                </a:solidFill>
              </a:rPr>
              <a:t> </a:t>
            </a:r>
            <a:r>
              <a:rPr lang="en-US" sz="4800" dirty="0" err="1" smtClean="0">
                <a:solidFill>
                  <a:srgbClr val="EA288C"/>
                </a:solidFill>
              </a:rPr>
              <a:t>ipsum</a:t>
            </a:r>
            <a:r>
              <a:rPr lang="en-US" sz="4800" dirty="0" smtClean="0">
                <a:solidFill>
                  <a:srgbClr val="EA288C"/>
                </a:solidFill>
              </a:rPr>
              <a:t> dolor sit</a:t>
            </a:r>
            <a:endParaRPr lang="en-US" sz="4800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333" baseline="0">
                <a:solidFill>
                  <a:srgbClr val="4D4D4D"/>
                </a:solidFill>
              </a:defRPr>
            </a:lvl1pPr>
          </a:lstStyle>
          <a:p>
            <a:pPr defTabSz="609585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609585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644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5018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816806" y="6232588"/>
            <a:ext cx="2846591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333" smtClean="0">
                <a:latin typeface="Simplon BP Bold"/>
                <a:cs typeface="Simplon BP Bold"/>
              </a:rPr>
              <a:pPr/>
              <a:t>‹nº›</a:t>
            </a:fld>
            <a:endParaRPr lang="en-US" sz="1333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7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7" y="2436252"/>
            <a:ext cx="8114071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09585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1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800"/>
              </a:lnSpc>
              <a:defRPr sz="48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5" y="4093632"/>
            <a:ext cx="1784096" cy="171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88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1688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7786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8974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3989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254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9817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2762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e texto mestres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BAA1F9-FA46-AF44-A0B8-EC0146313DB9}" type="datetimeFigureOut">
              <a:rPr lang="pt-BR" smtClean="0"/>
              <a:t>16/10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12F1E8-04BA-0245-AD1D-9278A4CB5BC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254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5449031" y="818709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85">
              <a:lnSpc>
                <a:spcPts val="2400"/>
              </a:lnSpc>
              <a:spcBef>
                <a:spcPts val="1067"/>
              </a:spcBef>
            </a:pPr>
            <a:endParaRPr lang="en-US" sz="2133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4118981" y="21995"/>
            <a:ext cx="4004200" cy="27420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7466"/>
              </a:lnSpc>
              <a:spcBef>
                <a:spcPts val="1067"/>
              </a:spcBef>
            </a:pP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7466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7466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4069811" y="3108297"/>
            <a:ext cx="3652352" cy="1469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 defTabSz="609585">
              <a:lnSpc>
                <a:spcPts val="3733"/>
              </a:lnSpc>
            </a:pPr>
            <a:r>
              <a:rPr lang="en-US" sz="3733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4069811" y="4824488"/>
            <a:ext cx="3652352" cy="39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lnSpc>
                <a:spcPts val="1867"/>
              </a:lnSpc>
            </a:pPr>
            <a:r>
              <a:rPr lang="en-US" sz="1867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867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3344424" y="412105"/>
            <a:ext cx="118217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pt-BR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pPr defTabSz="609585"/>
            <a:endParaRPr lang="en-US" sz="16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endParaRPr lang="en-US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pPr defTabSz="609585"/>
            <a:r>
              <a:rPr lang="en-US" sz="16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6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3355795" y="144739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3355795" y="718297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defRPr/>
            </a:pPr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3355795" y="2129231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3355795" y="2868739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3355795" y="3611613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3355795" y="4379202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12419232" y="407093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12419232" y="3339166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12419232" y="260740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12419232" y="187563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12419232" y="1143870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12419232" y="41210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3355795" y="5124105"/>
            <a:ext cx="1808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16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6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12419232" y="481583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12419233" y="18477"/>
            <a:ext cx="164248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2133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9090" y="7016177"/>
            <a:ext cx="8430251" cy="34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85">
              <a:spcBef>
                <a:spcPts val="1067"/>
              </a:spcBef>
            </a:pPr>
            <a:r>
              <a:rPr lang="en-US" sz="2133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2133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2133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1001183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2002367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3224743" y="7391402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322474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4225925" y="8140054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5227109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6418793" y="7391399"/>
            <a:ext cx="2952752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6418792" y="8140053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7419976" y="8140051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8421161" y="8140055"/>
            <a:ext cx="950384" cy="681567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pt-BR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24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9585" rtl="0" eaLnBrk="1" latinLnBrk="0" hangingPunct="1">
        <a:lnSpc>
          <a:spcPts val="3200"/>
        </a:lnSpc>
        <a:spcBef>
          <a:spcPts val="1467"/>
        </a:spcBef>
        <a:buNone/>
        <a:defRPr sz="2933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609585" rtl="0" eaLnBrk="1" latinLnBrk="0" hangingPunct="1">
        <a:lnSpc>
          <a:spcPts val="2667"/>
        </a:lnSpc>
        <a:spcBef>
          <a:spcPts val="1200"/>
        </a:spcBef>
        <a:buFont typeface="Arial"/>
        <a:buNone/>
        <a:defRPr sz="24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234945" indent="-234945" algn="l" defTabSz="609585" rtl="0" eaLnBrk="1" latinLnBrk="0" hangingPunct="1">
        <a:lnSpc>
          <a:spcPts val="2667"/>
        </a:lnSpc>
        <a:spcBef>
          <a:spcPts val="1200"/>
        </a:spcBef>
        <a:buSzPct val="50000"/>
        <a:buFont typeface="Arial"/>
        <a:buChar char="•"/>
        <a:tabLst/>
        <a:defRPr sz="24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1219170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2133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828754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2438339" indent="0" algn="l" defTabSz="609585" rtl="0" eaLnBrk="1" latinLnBrk="0" hangingPunct="1">
        <a:lnSpc>
          <a:spcPts val="2933"/>
        </a:lnSpc>
        <a:spcBef>
          <a:spcPts val="0"/>
        </a:spcBef>
        <a:buFont typeface="Arial"/>
        <a:buNone/>
        <a:defRPr sz="1867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743940" y="1015255"/>
            <a:ext cx="7088195" cy="282991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1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spcBef>
                <a:spcPct val="20000"/>
              </a:spcBef>
            </a:pPr>
            <a:r>
              <a:rPr lang="pt-BR" sz="4267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 NOVO RAID-FMS</a:t>
            </a: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endParaRPr lang="pt-BR" sz="4267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>
              <a:spcBef>
                <a:spcPct val="20000"/>
              </a:spcBef>
            </a:pPr>
            <a:r>
              <a:rPr lang="pt-BR" sz="32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25/09/17</a:t>
            </a: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</p:spTree>
    <p:extLst>
      <p:ext uri="{BB962C8B-B14F-4D97-AF65-F5344CB8AC3E}">
        <p14:creationId xmlns:p14="http://schemas.microsoft.com/office/powerpoint/2010/main" val="201247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1619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ISSUES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ssues</a:t>
            </a:r>
            <a:r>
              <a:rPr lang="pt-BR" sz="1867" b="1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definição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o processo de contratação do BPO para especificação do processo de detecção Programa 2 (definição de telas e regras de detecção] – Impeditivo para inicio das ondas 16 a 20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[Impacto custo/prazo] Resp. Cezar e Hug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ário alinhamento executivo entre as diretorias para aquisição do RAID-FMS em esteira diferenciada [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kickoff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]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ingencia de utilização do servidor de HML do RAID-UC em andamento, necessária priorização junto ao time de integração de Infra das ações de ajuste do servidor Oracle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95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>
                <a:solidFill>
                  <a:srgbClr val="A02BFF"/>
                </a:solidFill>
                <a:latin typeface="Simplon Oi Headline"/>
                <a:cs typeface="Simplon Oi Headline"/>
              </a:rPr>
              <a:t>Pontos de alinhamento – ti / negócio</a:t>
            </a: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684323"/>
            <a:ext cx="11951243" cy="58434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ontos de atenção para alinhamento do Projet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r abordagem de entrega em Ondas (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é-definiçã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23 ondas pelo usuário) priorizando maiores vulnerabilidade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alocação de times dedicados (GPs TI + GP Fornecedor + GP Negócio + PMO + RN + GT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Ts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Usuários + Técnicos Fornecedor) x recursos disponívei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fra-estrutura dedicada para condução dos trabalhos em localidades distintas (RJ/MG/Portugal), pois a expertise de antifraude 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WeD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stá em Portugal, o usuário principal está em BH e a Ti no Rio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levantamento de regras atuais (Engenharia Revers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corrência e sinergia com outros Projetos (Credito, Oi Vende, Mediação, OCS, CRM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oud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, Unifica)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trabalho de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modelagem de processos nas áreas de negócio (Usuário) - consultoria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mpacto em processos estratégicos de negócio - Vendas</a:t>
            </a:r>
          </a:p>
          <a:p>
            <a:pPr marL="457189" indent="-457189">
              <a:spcBef>
                <a:spcPts val="1067"/>
              </a:spcBef>
              <a:buFont typeface="+mj-lt"/>
              <a:buAutoNum type="arabicPeriod"/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integrações adicionais as já existentes e uso de big data</a:t>
            </a:r>
          </a:p>
          <a:p>
            <a:pPr>
              <a:spcBef>
                <a:spcPts val="1067"/>
              </a:spcBef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1067"/>
              </a:spcBef>
            </a:pP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uniões de trabalho nas próximas duas semanas para posterior alinhamento executivo.</a:t>
            </a:r>
          </a:p>
          <a:p>
            <a:pPr>
              <a:spcBef>
                <a:spcPts val="1067"/>
              </a:spcBef>
            </a:pPr>
            <a:endParaRPr lang="pt-BR" sz="1867" b="1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73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tecnológico IC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296875"/>
            <a:ext cx="5435951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MAPEAMENTO DE USUÁRIOS IMPACTADOS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O DO DESENHO DE ARQUITETURA DE INFRA E SEGURANÇA</a:t>
            </a:r>
          </a:p>
          <a:p>
            <a:pPr marL="285750" indent="-285750">
              <a:buFontTx/>
              <a:buChar char="-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DETALHAMENTO DAS REGRAS DE MELHORIAS ENVIADAS PELO USUÁRIO DE CRÉDITO E COBRANÇA,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752366" y="2309059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59" name="Straight Connector 456"/>
          <p:cNvCxnSpPr/>
          <p:nvPr/>
        </p:nvCxnSpPr>
        <p:spPr>
          <a:xfrm>
            <a:off x="869548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457435"/>
            <a:ext cx="3229251" cy="230832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junto ao fornecedor (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WeDo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) para definição das atividades do proje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com o time de Infra e segurança para definição de novo desenho de arquitetura  de Infr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genda de reuniões com o time de gestão de testes para definição de estratégia e ambiente de testes dedica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talhamento e priorização das regras de melhorias junto ao usuário para serem entregues em paralelo ao Upgrade.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384644" y="5077483"/>
            <a:ext cx="2783651" cy="46166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Detalhamento do desenho da solução de infra e sistemas.</a:t>
            </a:r>
            <a:endParaRPr lang="id-ID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5060441"/>
            <a:ext cx="3146552" cy="64633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nvolvimento das áreas necessárias para aprovação do desenho de solução 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e estratégia de testes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802358" y="2309059"/>
            <a:ext cx="26867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DE PROPOSTAS, CONSOLIDAÇÃO E  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296115" y="1785970"/>
            <a:ext cx="5478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Desenho da Solução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813447" y="2309059"/>
            <a:ext cx="28255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CONSOLID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 ESTRATÉGIA DE TESTES.</a:t>
            </a:r>
          </a:p>
        </p:txBody>
      </p:sp>
      <p:sp>
        <p:nvSpPr>
          <p:cNvPr id="51" name="TextBox 431"/>
          <p:cNvSpPr txBox="1"/>
          <p:nvPr/>
        </p:nvSpPr>
        <p:spPr>
          <a:xfrm>
            <a:off x="9519568" y="5058036"/>
            <a:ext cx="2545055" cy="830997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GO para inicio do projeto e recebimento de cronograma </a:t>
            </a: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02629" y="554573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377"/>
          <p:cNvSpPr txBox="1"/>
          <p:nvPr/>
        </p:nvSpPr>
        <p:spPr>
          <a:xfrm>
            <a:off x="5704263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DSOL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52" name="TextBox 377"/>
          <p:cNvSpPr txBox="1"/>
          <p:nvPr/>
        </p:nvSpPr>
        <p:spPr>
          <a:xfrm>
            <a:off x="8734118" y="1785970"/>
            <a:ext cx="29925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Aprovação Financeira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96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783942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Upgrade </a:t>
            </a:r>
            <a:r>
              <a:rPr lang="pt-BR" sz="2400" dirty="0" err="1" smtClean="0">
                <a:solidFill>
                  <a:schemeClr val="bg1"/>
                </a:solidFill>
                <a:latin typeface="Simplon Oi Headline" pitchFamily="2" charset="0"/>
              </a:rPr>
              <a:t>transact</a:t>
            </a:r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 p/ (POWER CURVE)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418947" y="2337819"/>
            <a:ext cx="295196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LEVANTAMENTO/ESCRITA REQUISITOS E REGRAS: TI  + NEGÓCIO</a:t>
            </a: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595880" y="1765189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HO DE SOLUÇÃ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3666477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725522" y="2332460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ELABORAÇÃO DESENHO SOLUÇÃO 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102" name="Straight Connector 424"/>
          <p:cNvCxnSpPr/>
          <p:nvPr/>
        </p:nvCxnSpPr>
        <p:spPr>
          <a:xfrm flipV="1">
            <a:off x="1088266" y="4252717"/>
            <a:ext cx="0" cy="614705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738584" cy="181588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Agenda de reuniões junto ao fornecedor (EXPERIAN), área de negócio e TI para definição dos requisitos  e regras que farão parte do SD (solicitação de Demand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Definição  equipe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Abertura PRJ no Clarity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231840" y="5091131"/>
            <a:ext cx="2336449" cy="1169551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GO para fornecedor iniciar Desenho de solução (GO DSO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Inicio do estudo da estratégia testes</a:t>
            </a: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7"/>
            <a:ext cx="0" cy="728572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22888" y="5074089"/>
            <a:ext cx="2907469" cy="1169551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nvolvimento das áreas necessárias para aprovação do desenho de solução e definição de faseamento, requisitos essenciais 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9184502" y="2350003"/>
            <a:ext cx="212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RECEBIMENTO DE PROPOSTAS/APROVAÇÃO 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85421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ESCOPO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6113704" y="2322707"/>
            <a:ext cx="1858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APROVAÇÃO 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DESENHO SOLUÇÃO 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APROVAÇÃO FINANCEIRA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60043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Recebimento  das propostas dos fornece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GO para inicio do projeto e recebimento de cronograma 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etapa de Aprovação  Financeira</a:t>
            </a:r>
            <a:endParaRPr lang="pt-BR" sz="1400" dirty="0"/>
          </a:p>
        </p:txBody>
      </p:sp>
      <p:sp>
        <p:nvSpPr>
          <p:cNvPr id="54" name="Estrela de 6 Pontas 53"/>
          <p:cNvSpPr/>
          <p:nvPr/>
        </p:nvSpPr>
        <p:spPr>
          <a:xfrm>
            <a:off x="11055635" y="6137008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2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3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55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56" name="Straight Connector 424"/>
          <p:cNvCxnSpPr/>
          <p:nvPr/>
        </p:nvCxnSpPr>
        <p:spPr>
          <a:xfrm flipV="1">
            <a:off x="1088266" y="4225422"/>
            <a:ext cx="0" cy="204717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830569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783469" y="4208260"/>
            <a:ext cx="0" cy="78142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500" y="155640"/>
            <a:ext cx="4375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a SOLUÇÃO FISCAL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109455" y="2394091"/>
            <a:ext cx="177498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EF.ESTRATÉGIA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PLANEJAMENTO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</a:rPr>
              <a:t>DSOL</a:t>
            </a:r>
          </a:p>
        </p:txBody>
      </p:sp>
      <p:grpSp>
        <p:nvGrpSpPr>
          <p:cNvPr id="19" name="Group 378"/>
          <p:cNvGrpSpPr/>
          <p:nvPr/>
        </p:nvGrpSpPr>
        <p:grpSpPr>
          <a:xfrm>
            <a:off x="19164" y="3386023"/>
            <a:ext cx="1860160" cy="897466"/>
            <a:chOff x="9533" y="3285068"/>
            <a:chExt cx="925258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9536" y="4000500"/>
              <a:ext cx="925255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9533" y="3285068"/>
              <a:ext cx="925256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1884442" y="3386023"/>
            <a:ext cx="3164229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048671" y="3386023"/>
            <a:ext cx="5600568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10649239" y="3386023"/>
            <a:ext cx="731001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-26450" y="3666769"/>
            <a:ext cx="1871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AGO/17 – OUT/17</a:t>
            </a:r>
            <a:endParaRPr lang="id-ID" dirty="0"/>
          </a:p>
        </p:txBody>
      </p:sp>
      <p:sp>
        <p:nvSpPr>
          <p:cNvPr id="40" name="TextBox 418"/>
          <p:cNvSpPr txBox="1"/>
          <p:nvPr/>
        </p:nvSpPr>
        <p:spPr>
          <a:xfrm>
            <a:off x="2467738" y="3652701"/>
            <a:ext cx="1872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NOV/17 – MAI/18</a:t>
            </a:r>
            <a:endParaRPr lang="id-ID" dirty="0"/>
          </a:p>
        </p:txBody>
      </p:sp>
      <p:sp>
        <p:nvSpPr>
          <p:cNvPr id="41" name="TextBox 420"/>
          <p:cNvSpPr txBox="1"/>
          <p:nvPr/>
        </p:nvSpPr>
        <p:spPr>
          <a:xfrm>
            <a:off x="10556665" y="3671577"/>
            <a:ext cx="9380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 smtClean="0"/>
              <a:t>ABR/19</a:t>
            </a:r>
            <a:endParaRPr lang="id-ID" dirty="0"/>
          </a:p>
        </p:txBody>
      </p:sp>
      <p:cxnSp>
        <p:nvCxnSpPr>
          <p:cNvPr id="44" name="Straight Connector 424"/>
          <p:cNvCxnSpPr/>
          <p:nvPr/>
        </p:nvCxnSpPr>
        <p:spPr>
          <a:xfrm>
            <a:off x="8339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1795205" y="1821461"/>
            <a:ext cx="2149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DESENVOLVIMENTO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  <p:cxnSp>
        <p:nvCxnSpPr>
          <p:cNvPr id="48" name="Straight Connector 429"/>
          <p:cNvCxnSpPr/>
          <p:nvPr/>
        </p:nvCxnSpPr>
        <p:spPr>
          <a:xfrm>
            <a:off x="1879875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037332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1924854" y="2459070"/>
            <a:ext cx="2314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CONFIGURAÇÃ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DESENVOLVIMENTO</a:t>
            </a:r>
          </a:p>
          <a:p>
            <a:r>
              <a:rPr lang="pt-BR" sz="1400" dirty="0" smtClean="0">
                <a:solidFill>
                  <a:srgbClr val="00A596"/>
                </a:solidFill>
                <a:latin typeface="Calibri"/>
              </a:rPr>
              <a:t>INFRAESTRUTURA</a:t>
            </a:r>
            <a:endParaRPr lang="id-ID" sz="1400" dirty="0">
              <a:solidFill>
                <a:srgbClr val="00A596"/>
              </a:solidFill>
              <a:latin typeface="Calibri"/>
            </a:endParaRPr>
          </a:p>
        </p:txBody>
      </p:sp>
      <p:cxnSp>
        <p:nvCxnSpPr>
          <p:cNvPr id="59" name="Straight Connector 456"/>
          <p:cNvCxnSpPr/>
          <p:nvPr/>
        </p:nvCxnSpPr>
        <p:spPr>
          <a:xfrm>
            <a:off x="10656567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708725" y="3650376"/>
            <a:ext cx="19623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defRPr>
            </a:lvl1pPr>
          </a:lstStyle>
          <a:p>
            <a:r>
              <a:rPr lang="pt-BR" dirty="0"/>
              <a:t>JUN/18 – MAR/19</a:t>
            </a:r>
            <a:endParaRPr lang="id-ID" dirty="0"/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553693" y="4252718"/>
            <a:ext cx="0" cy="70366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100805" y="4989681"/>
            <a:ext cx="2206297" cy="160043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</a:rPr>
              <a:t>Definição da estratégia de </a:t>
            </a:r>
            <a:r>
              <a:rPr lang="pt-BR" sz="1400" dirty="0" err="1" smtClean="0">
                <a:solidFill>
                  <a:srgbClr val="002060"/>
                </a:solidFill>
              </a:rPr>
              <a:t>faseamento</a:t>
            </a:r>
            <a:r>
              <a:rPr lang="pt-BR" sz="1400" dirty="0" smtClean="0">
                <a:solidFill>
                  <a:srgbClr val="002060"/>
                </a:solidFill>
              </a:rPr>
              <a:t> do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do cronogr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rgbClr val="002060"/>
                </a:solidFill>
                <a:latin typeface="Calibri"/>
              </a:rPr>
              <a:t>Elaboração e aprovação do Desenho da Solução</a:t>
            </a:r>
            <a:endParaRPr lang="pt-BR" sz="1400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5628062" y="4244078"/>
            <a:ext cx="0" cy="712304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2651100" y="4997209"/>
            <a:ext cx="2336449" cy="1384995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Configurações e desenvolvi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Testes unitá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rgbClr val="00A596"/>
                </a:solidFill>
              </a:rPr>
              <a:t>Disponibilização da infraestrutu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d-ID" dirty="0">
              <a:solidFill>
                <a:srgbClr val="00A596"/>
              </a:solidFill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H="1" flipV="1">
            <a:off x="2858560" y="4268638"/>
            <a:ext cx="11562" cy="68774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5392595" y="4997209"/>
            <a:ext cx="2907469" cy="138499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Testes integrados e UAT de todos os cenários previs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Correções de err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Elaboração do material de trein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6">
                    <a:lumMod val="75000"/>
                  </a:schemeClr>
                </a:solidFill>
              </a:rPr>
              <a:t>Aplicação do treinamento</a:t>
            </a:r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10717887" y="2350003"/>
            <a:ext cx="12569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PREPARAÇÃO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GO LIVE</a:t>
            </a:r>
          </a:p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SUPORTE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-617464" y="1826074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b="1" dirty="0" smtClean="0">
                <a:solidFill>
                  <a:srgbClr val="002060"/>
                </a:solidFill>
              </a:rPr>
              <a:t>FASE:  PLANEJ/DSOL </a:t>
            </a:r>
            <a:endParaRPr lang="id-ID" sz="1050" b="1" dirty="0">
              <a:solidFill>
                <a:srgbClr val="002060"/>
              </a:solidFill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058627" y="2421181"/>
            <a:ext cx="1858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ESTE INTEGRADO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UAT</a:t>
            </a:r>
          </a:p>
          <a:p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  <a:latin typeface="Calibri"/>
              </a:rPr>
              <a:t>TREINAMENTO</a:t>
            </a:r>
            <a:endParaRPr lang="id-ID" sz="1400" dirty="0">
              <a:solidFill>
                <a:schemeClr val="accent6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5" name="TextBox 468"/>
          <p:cNvSpPr txBox="1"/>
          <p:nvPr/>
        </p:nvSpPr>
        <p:spPr>
          <a:xfrm>
            <a:off x="10510672" y="1784103"/>
            <a:ext cx="17985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accent2">
                    <a:lumMod val="75000"/>
                  </a:schemeClr>
                </a:solidFill>
                <a:latin typeface="Calibri"/>
              </a:rPr>
              <a:t>FASE: GO LIVE</a:t>
            </a:r>
            <a:endParaRPr lang="id-ID" sz="1400" b="1" dirty="0">
              <a:solidFill>
                <a:schemeClr val="accent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424032" y="5058036"/>
            <a:ext cx="2231721" cy="1169551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 smtClean="0">
                <a:solidFill>
                  <a:schemeClr val="accent2">
                    <a:lumMod val="75000"/>
                  </a:schemeClr>
                </a:solidFill>
              </a:rPr>
              <a:t>Prepação</a:t>
            </a: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 para 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GO L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accent2">
                    <a:lumMod val="75000"/>
                  </a:schemeClr>
                </a:solidFill>
              </a:rPr>
              <a:t>Operação Assistida (3 meses)</a:t>
            </a:r>
          </a:p>
          <a:p>
            <a:endParaRPr lang="id-ID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820139" y="711832"/>
            <a:ext cx="624606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Este macro cronograma conte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Ao longo do andamento os </a:t>
            </a:r>
            <a:r>
              <a:rPr lang="pt-BR" sz="1400" dirty="0" err="1" smtClean="0"/>
              <a:t>reports</a:t>
            </a:r>
            <a:r>
              <a:rPr lang="pt-BR" sz="1400" dirty="0" smtClean="0"/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Somente teremos cronograma </a:t>
            </a:r>
            <a:r>
              <a:rPr lang="pt-BR" sz="1400" dirty="0"/>
              <a:t> </a:t>
            </a:r>
            <a:r>
              <a:rPr lang="pt-BR" sz="1400" dirty="0" smtClean="0"/>
              <a:t>após  a conclusão da etapa de Planejamento</a:t>
            </a:r>
            <a:endParaRPr lang="pt-BR" sz="1400" dirty="0"/>
          </a:p>
        </p:txBody>
      </p:sp>
      <p:sp>
        <p:nvSpPr>
          <p:cNvPr id="46" name="TextBox 428"/>
          <p:cNvSpPr txBox="1"/>
          <p:nvPr/>
        </p:nvSpPr>
        <p:spPr>
          <a:xfrm>
            <a:off x="4410613" y="1789309"/>
            <a:ext cx="3500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rgbClr val="7030A0"/>
                </a:solidFill>
                <a:latin typeface="Calibri"/>
              </a:rPr>
              <a:t>FASE: TESTES E TREINAMENTO </a:t>
            </a:r>
            <a:endParaRPr lang="id-ID" sz="1400" b="1" i="1" dirty="0">
              <a:solidFill>
                <a:srgbClr val="7030A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060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Connector 461"/>
          <p:cNvCxnSpPr/>
          <p:nvPr/>
        </p:nvCxnSpPr>
        <p:spPr>
          <a:xfrm flipV="1">
            <a:off x="10150424" y="4208259"/>
            <a:ext cx="0" cy="486571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ysDash"/>
            <a:miter lim="800000"/>
            <a:headEnd type="oval"/>
          </a:ln>
          <a:effectLst/>
        </p:spPr>
      </p:cxnSp>
      <p:pic>
        <p:nvPicPr>
          <p:cNvPr id="25" name="Imagem 2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2A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241" y="-76976"/>
            <a:ext cx="788808" cy="7888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CaixaDeTexto 25"/>
          <p:cNvSpPr txBox="1"/>
          <p:nvPr/>
        </p:nvSpPr>
        <p:spPr>
          <a:xfrm>
            <a:off x="6278499" y="155640"/>
            <a:ext cx="535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2400" dirty="0" smtClean="0">
                <a:solidFill>
                  <a:srgbClr val="00B2A7"/>
                </a:solidFill>
                <a:latin typeface="Simplon Oi Headline" pitchFamily="2" charset="0"/>
              </a:rPr>
              <a:t>Draft – macro cronograma - 2017</a:t>
            </a:r>
            <a:endParaRPr lang="pt-BR" sz="2400" dirty="0">
              <a:solidFill>
                <a:srgbClr val="00B2A7"/>
              </a:solidFill>
              <a:latin typeface="Simplon Oi Headline" pitchFamily="2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08831" y="127057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err="1" smtClean="0">
                <a:solidFill>
                  <a:schemeClr val="bg1"/>
                </a:solidFill>
                <a:latin typeface="Simplon Oi Headline" pitchFamily="2" charset="0"/>
              </a:rPr>
              <a:t>Billing</a:t>
            </a:r>
            <a:r>
              <a:rPr lang="pt-BR" sz="2000" dirty="0" smtClean="0">
                <a:solidFill>
                  <a:schemeClr val="bg1"/>
                </a:solidFill>
                <a:latin typeface="Simplon Oi Headline" pitchFamily="2" charset="0"/>
              </a:rPr>
              <a:t> e TV</a:t>
            </a:r>
            <a:endParaRPr lang="pt-BR" sz="2000" dirty="0">
              <a:solidFill>
                <a:schemeClr val="bg1"/>
              </a:solidFill>
              <a:latin typeface="Simplon Oi Headline" pitchFamily="2" charset="0"/>
            </a:endParaRPr>
          </a:p>
        </p:txBody>
      </p:sp>
      <p:sp>
        <p:nvSpPr>
          <p:cNvPr id="27" name="Paralelogramo 26"/>
          <p:cNvSpPr/>
          <p:nvPr/>
        </p:nvSpPr>
        <p:spPr>
          <a:xfrm>
            <a:off x="81651" y="58817"/>
            <a:ext cx="5855593" cy="818918"/>
          </a:xfrm>
          <a:prstGeom prst="parallelogram">
            <a:avLst/>
          </a:prstGeom>
          <a:solidFill>
            <a:srgbClr val="00B2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CaixaDeTexto 31"/>
          <p:cNvSpPr txBox="1"/>
          <p:nvPr/>
        </p:nvSpPr>
        <p:spPr>
          <a:xfrm>
            <a:off x="203372" y="194192"/>
            <a:ext cx="5733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>
                <a:solidFill>
                  <a:schemeClr val="bg1"/>
                </a:solidFill>
                <a:latin typeface="Simplon Oi Headline" pitchFamily="2" charset="0"/>
              </a:rPr>
              <a:t>Novo antifraude RAID-FMS</a:t>
            </a:r>
          </a:p>
        </p:txBody>
      </p:sp>
      <p:sp>
        <p:nvSpPr>
          <p:cNvPr id="14" name="TextBox 377"/>
          <p:cNvSpPr txBox="1"/>
          <p:nvPr/>
        </p:nvSpPr>
        <p:spPr>
          <a:xfrm>
            <a:off x="309763" y="2160395"/>
            <a:ext cx="2951969" cy="1331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MOBILIZAÇÃO E ALOCAÇÃO DE TIME DEDICADO: TI, FÁBRICAS E USUÁRIO EM ANDAMENTO. 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       </a:t>
            </a:r>
            <a:r>
              <a:rPr lang="pt-BR" dirty="0" smtClean="0">
                <a:solidFill>
                  <a:srgbClr val="FF0000"/>
                </a:solidFill>
                <a:latin typeface="Simplon BP Regular" pitchFamily="2" charset="0"/>
              </a:rPr>
              <a:t>(Pendente PMO)</a:t>
            </a:r>
          </a:p>
          <a:p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</a:rPr>
              <a:t>INICIADO PROCESSO INFRA</a:t>
            </a:r>
          </a:p>
          <a:p>
            <a:pPr marL="171450" indent="-171450">
              <a:buFontTx/>
              <a:buChar char="-"/>
            </a:pPr>
            <a:endParaRPr lang="id-ID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9" name="Group 378"/>
          <p:cNvGrpSpPr/>
          <p:nvPr/>
        </p:nvGrpSpPr>
        <p:grpSpPr>
          <a:xfrm>
            <a:off x="-1" y="3386023"/>
            <a:ext cx="2995799" cy="897466"/>
            <a:chOff x="0" y="3285068"/>
            <a:chExt cx="1490133" cy="897466"/>
          </a:xfrm>
          <a:solidFill>
            <a:srgbClr val="2980B9"/>
          </a:solidFill>
        </p:grpSpPr>
        <p:sp>
          <p:nvSpPr>
            <p:cNvPr id="20" name="Rectangle 379"/>
            <p:cNvSpPr/>
            <p:nvPr/>
          </p:nvSpPr>
          <p:spPr>
            <a:xfrm>
              <a:off x="0" y="4000500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404"/>
            <p:cNvSpPr/>
            <p:nvPr/>
          </p:nvSpPr>
          <p:spPr>
            <a:xfrm>
              <a:off x="0" y="3285068"/>
              <a:ext cx="1490133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Group 405"/>
          <p:cNvGrpSpPr/>
          <p:nvPr/>
        </p:nvGrpSpPr>
        <p:grpSpPr>
          <a:xfrm>
            <a:off x="2995798" y="3386023"/>
            <a:ext cx="2927797" cy="897466"/>
            <a:chOff x="1490133" y="3285068"/>
            <a:chExt cx="2657032" cy="897466"/>
          </a:xfrm>
          <a:solidFill>
            <a:srgbClr val="16A085"/>
          </a:solidFill>
        </p:grpSpPr>
        <p:sp>
          <p:nvSpPr>
            <p:cNvPr id="23" name="Rectangle 406"/>
            <p:cNvSpPr/>
            <p:nvPr/>
          </p:nvSpPr>
          <p:spPr>
            <a:xfrm>
              <a:off x="1490133" y="4000500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407"/>
            <p:cNvSpPr/>
            <p:nvPr/>
          </p:nvSpPr>
          <p:spPr>
            <a:xfrm>
              <a:off x="1490133" y="3285068"/>
              <a:ext cx="265703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oup 408"/>
          <p:cNvGrpSpPr/>
          <p:nvPr/>
        </p:nvGrpSpPr>
        <p:grpSpPr>
          <a:xfrm>
            <a:off x="5745714" y="3386023"/>
            <a:ext cx="2915597" cy="897466"/>
            <a:chOff x="4139707" y="3285068"/>
            <a:chExt cx="2743692" cy="897466"/>
          </a:xfrm>
          <a:solidFill>
            <a:srgbClr val="9BBB59"/>
          </a:solidFill>
        </p:grpSpPr>
        <p:sp>
          <p:nvSpPr>
            <p:cNvPr id="30" name="Rectangle 409"/>
            <p:cNvSpPr/>
            <p:nvPr/>
          </p:nvSpPr>
          <p:spPr>
            <a:xfrm>
              <a:off x="4139707" y="4000500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410"/>
            <p:cNvSpPr/>
            <p:nvPr/>
          </p:nvSpPr>
          <p:spPr>
            <a:xfrm>
              <a:off x="4139707" y="3285068"/>
              <a:ext cx="2743692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411"/>
          <p:cNvGrpSpPr/>
          <p:nvPr/>
        </p:nvGrpSpPr>
        <p:grpSpPr>
          <a:xfrm>
            <a:off x="8661311" y="3386023"/>
            <a:ext cx="2652680" cy="897466"/>
            <a:chOff x="6883399" y="3285068"/>
            <a:chExt cx="3465378" cy="897466"/>
          </a:xfrm>
          <a:solidFill>
            <a:srgbClr val="F39C12"/>
          </a:solidFill>
        </p:grpSpPr>
        <p:sp>
          <p:nvSpPr>
            <p:cNvPr id="34" name="Rectangle 412"/>
            <p:cNvSpPr/>
            <p:nvPr/>
          </p:nvSpPr>
          <p:spPr>
            <a:xfrm>
              <a:off x="6883399" y="4000500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413"/>
            <p:cNvSpPr/>
            <p:nvPr/>
          </p:nvSpPr>
          <p:spPr>
            <a:xfrm>
              <a:off x="6883399" y="3285068"/>
              <a:ext cx="3465378" cy="182034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9" name="TextBox 417"/>
          <p:cNvSpPr txBox="1"/>
          <p:nvPr/>
        </p:nvSpPr>
        <p:spPr>
          <a:xfrm>
            <a:off x="903185" y="3652701"/>
            <a:ext cx="10246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 smtClean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AGOST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0" name="TextBox 418"/>
          <p:cNvSpPr txBox="1"/>
          <p:nvPr/>
        </p:nvSpPr>
        <p:spPr>
          <a:xfrm>
            <a:off x="3748660" y="3652701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ET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sp>
        <p:nvSpPr>
          <p:cNvPr id="41" name="TextBox 420"/>
          <p:cNvSpPr txBox="1"/>
          <p:nvPr/>
        </p:nvSpPr>
        <p:spPr>
          <a:xfrm>
            <a:off x="9327027" y="3671577"/>
            <a:ext cx="13997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NOVEM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44" name="Straight Connector 424"/>
          <p:cNvCxnSpPr/>
          <p:nvPr/>
        </p:nvCxnSpPr>
        <p:spPr>
          <a:xfrm>
            <a:off x="294418" y="2360509"/>
            <a:ext cx="1" cy="1025514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47" name="TextBox 428"/>
          <p:cNvSpPr txBox="1"/>
          <p:nvPr/>
        </p:nvSpPr>
        <p:spPr>
          <a:xfrm>
            <a:off x="3391160" y="1792485"/>
            <a:ext cx="5065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FASE: SCOPING PROGRAMA 1 E 2</a:t>
            </a:r>
          </a:p>
        </p:txBody>
      </p:sp>
      <p:cxnSp>
        <p:nvCxnSpPr>
          <p:cNvPr id="48" name="Straight Connector 429"/>
          <p:cNvCxnSpPr/>
          <p:nvPr/>
        </p:nvCxnSpPr>
        <p:spPr>
          <a:xfrm>
            <a:off x="3188799" y="2358439"/>
            <a:ext cx="0" cy="1015627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cxnSp>
        <p:nvCxnSpPr>
          <p:cNvPr id="49" name="Straight Connector 430"/>
          <p:cNvCxnSpPr/>
          <p:nvPr/>
        </p:nvCxnSpPr>
        <p:spPr>
          <a:xfrm flipH="1">
            <a:off x="5923595" y="2322707"/>
            <a:ext cx="1" cy="107696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50" name="TextBox 431"/>
          <p:cNvSpPr txBox="1"/>
          <p:nvPr/>
        </p:nvSpPr>
        <p:spPr>
          <a:xfrm>
            <a:off x="3247843" y="2332460"/>
            <a:ext cx="2649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SCOPING: TI E NEGÓCIO AF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MODELAGEM PROCESSOS NAS ÁREAS DE NEGÓCIO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NGENHARIA REVERSA E DAS</a:t>
            </a:r>
          </a:p>
        </p:txBody>
      </p:sp>
      <p:cxnSp>
        <p:nvCxnSpPr>
          <p:cNvPr id="59" name="Straight Connector 456"/>
          <p:cNvCxnSpPr/>
          <p:nvPr/>
        </p:nvCxnSpPr>
        <p:spPr>
          <a:xfrm>
            <a:off x="8968440" y="2309059"/>
            <a:ext cx="0" cy="1120539"/>
          </a:xfrm>
          <a:prstGeom prst="line">
            <a:avLst/>
          </a:prstGeom>
          <a:noFill/>
          <a:ln w="12700" cap="flat" cmpd="sng" algn="ctr">
            <a:solidFill>
              <a:srgbClr val="F39C12"/>
            </a:solidFill>
            <a:prstDash val="sysDash"/>
            <a:miter lim="800000"/>
            <a:headEnd type="oval"/>
          </a:ln>
          <a:effectLst/>
        </p:spPr>
      </p:cxnSp>
      <p:sp>
        <p:nvSpPr>
          <p:cNvPr id="71" name="TextBox 420"/>
          <p:cNvSpPr txBox="1"/>
          <p:nvPr/>
        </p:nvSpPr>
        <p:spPr>
          <a:xfrm>
            <a:off x="6273447" y="3650376"/>
            <a:ext cx="1763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OUTUBRO</a:t>
            </a:r>
            <a:endParaRPr lang="id-ID" sz="2000" b="1" dirty="0">
              <a:solidFill>
                <a:prstClr val="white">
                  <a:lumMod val="50000"/>
                </a:prstClr>
              </a:solidFill>
              <a:latin typeface="Simplon BP Regular" pitchFamily="2" charset="0"/>
            </a:endParaRPr>
          </a:p>
        </p:txBody>
      </p:sp>
      <p:cxnSp>
        <p:nvCxnSpPr>
          <p:cNvPr id="102" name="Straight Connector 424"/>
          <p:cNvCxnSpPr/>
          <p:nvPr/>
        </p:nvCxnSpPr>
        <p:spPr>
          <a:xfrm flipV="1">
            <a:off x="1088266" y="4252718"/>
            <a:ext cx="0" cy="442112"/>
          </a:xfrm>
          <a:prstGeom prst="line">
            <a:avLst/>
          </a:prstGeom>
          <a:noFill/>
          <a:ln w="12700" cap="flat" cmpd="sng" algn="ctr">
            <a:solidFill>
              <a:srgbClr val="2980B9"/>
            </a:solidFill>
            <a:prstDash val="sysDash"/>
            <a:miter lim="800000"/>
            <a:headEnd type="oval"/>
          </a:ln>
          <a:effectLst/>
        </p:spPr>
      </p:cxnSp>
      <p:sp>
        <p:nvSpPr>
          <p:cNvPr id="69" name="TextBox 455"/>
          <p:cNvSpPr txBox="1"/>
          <p:nvPr/>
        </p:nvSpPr>
        <p:spPr>
          <a:xfrm>
            <a:off x="32564" y="4757665"/>
            <a:ext cx="3049275" cy="156966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accent1">
                    <a:lumMod val="50000"/>
                  </a:schemeClr>
                </a:solidFill>
                <a:latin typeface="Simplon BP Regular" pitchFamily="2" charset="0"/>
                <a:sym typeface="Wingdings" panose="05000000000000000000" pitchFamily="2" charset="2"/>
              </a:rPr>
              <a:t>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linhamento executivo da abordagem de </a:t>
            </a:r>
            <a:r>
              <a:rPr lang="pt-BR" sz="1200" dirty="0">
                <a:solidFill>
                  <a:srgbClr val="002060"/>
                </a:solidFill>
                <a:latin typeface="Simplon BP Regular" pitchFamily="2" charset="0"/>
              </a:rPr>
              <a:t> 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 entregas em 23 ondas definidas pelo usuário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Definição  equipe dedicada ao projeto (GPs TI + GP WEDO + GPs negócio + PMO + AN + GT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RT´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</a:t>
            </a:r>
            <a:r>
              <a:rPr lang="pt-BR" sz="1200" dirty="0" err="1" smtClean="0">
                <a:solidFill>
                  <a:srgbClr val="002060"/>
                </a:solidFill>
                <a:latin typeface="Simplon BP Regular" pitchFamily="2" charset="0"/>
              </a:rPr>
              <a:t>LTs</a:t>
            </a: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 + Usuários + Operação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srgbClr val="002060"/>
                </a:solidFill>
                <a:latin typeface="Simplon BP Regular" pitchFamily="2" charset="0"/>
              </a:rPr>
              <a:t>Abertura do PRJ24506 em Infra</a:t>
            </a:r>
            <a:endParaRPr lang="pt-BR" sz="120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cxnSp>
        <p:nvCxnSpPr>
          <p:cNvPr id="90" name="Straight Connector 449"/>
          <p:cNvCxnSpPr/>
          <p:nvPr/>
        </p:nvCxnSpPr>
        <p:spPr>
          <a:xfrm flipV="1">
            <a:off x="6823815" y="4268985"/>
            <a:ext cx="0" cy="180697"/>
          </a:xfrm>
          <a:prstGeom prst="line">
            <a:avLst/>
          </a:prstGeom>
          <a:noFill/>
          <a:ln w="12700" cap="flat" cmpd="sng" algn="ctr">
            <a:solidFill>
              <a:srgbClr val="9BBB59"/>
            </a:solidFill>
            <a:prstDash val="sysDash"/>
            <a:miter lim="800000"/>
            <a:headEnd type="oval"/>
          </a:ln>
          <a:effectLst/>
        </p:spPr>
      </p:cxnSp>
      <p:sp>
        <p:nvSpPr>
          <p:cNvPr id="70" name="TextBox 428"/>
          <p:cNvSpPr txBox="1"/>
          <p:nvPr/>
        </p:nvSpPr>
        <p:spPr>
          <a:xfrm>
            <a:off x="3177248" y="4449682"/>
            <a:ext cx="2991048" cy="2308324"/>
          </a:xfrm>
          <a:prstGeom prst="rect">
            <a:avLst/>
          </a:prstGeom>
          <a:noFill/>
          <a:ln>
            <a:solidFill>
              <a:srgbClr val="00A596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7030A0"/>
                </a:solidFill>
                <a:latin typeface="Calibri"/>
              </a:defRPr>
            </a:lvl1pPr>
          </a:lstStyle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Realiz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scoping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e  modelagem de processos nas diversas áreas de negócio envolvidas (pendente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contratação)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  <a:p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+ 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Levantamento </a:t>
            </a:r>
            <a:r>
              <a:rPr lang="pt-BR" sz="1200" dirty="0">
                <a:solidFill>
                  <a:srgbClr val="00A596"/>
                </a:solidFill>
                <a:latin typeface="Simplon BP Regular" pitchFamily="2" charset="0"/>
              </a:rPr>
              <a:t>das regras atuais existentes no AF legado e elaboração de </a:t>
            </a:r>
            <a:r>
              <a:rPr lang="pt-BR" sz="1200" dirty="0" err="1" smtClean="0">
                <a:solidFill>
                  <a:srgbClr val="00A596"/>
                </a:solidFill>
                <a:latin typeface="Simplon BP Regular" pitchFamily="2" charset="0"/>
              </a:rPr>
              <a:t>blueprint</a:t>
            </a:r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 iniciado pela WEDO em BH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Aquisição de HW DEV/HML depende de priorização junto à diretoria de infra. Contingência: Uso HML do RAID-UC p/ DEV.</a:t>
            </a:r>
          </a:p>
          <a:p>
            <a:r>
              <a:rPr lang="pt-BR" sz="1200" dirty="0" smtClean="0">
                <a:solidFill>
                  <a:srgbClr val="00A596"/>
                </a:solidFill>
                <a:latin typeface="Simplon BP Regular" pitchFamily="2" charset="0"/>
              </a:rPr>
              <a:t>+ realizado alinhamento junto a relacionamento quanto a criação e priorização de PRJ por ondas</a:t>
            </a:r>
            <a:endParaRPr lang="pt-BR" sz="1200" dirty="0">
              <a:solidFill>
                <a:srgbClr val="00A596"/>
              </a:solidFill>
              <a:latin typeface="Simplon BP Regular" pitchFamily="2" charset="0"/>
            </a:endParaRPr>
          </a:p>
        </p:txBody>
      </p:sp>
      <p:cxnSp>
        <p:nvCxnSpPr>
          <p:cNvPr id="78" name="Straight Connector 424"/>
          <p:cNvCxnSpPr/>
          <p:nvPr/>
        </p:nvCxnSpPr>
        <p:spPr>
          <a:xfrm flipV="1">
            <a:off x="4447896" y="4268638"/>
            <a:ext cx="0" cy="166884"/>
          </a:xfrm>
          <a:prstGeom prst="line">
            <a:avLst/>
          </a:prstGeom>
          <a:noFill/>
          <a:ln w="12700" cap="flat" cmpd="sng" algn="ctr">
            <a:solidFill>
              <a:srgbClr val="16A085"/>
            </a:solidFill>
            <a:prstDash val="sysDash"/>
            <a:miter lim="800000"/>
            <a:headEnd type="oval"/>
          </a:ln>
          <a:effectLst/>
        </p:spPr>
      </p:cxnSp>
      <p:sp>
        <p:nvSpPr>
          <p:cNvPr id="79" name="TextBox 431"/>
          <p:cNvSpPr txBox="1"/>
          <p:nvPr/>
        </p:nvSpPr>
        <p:spPr>
          <a:xfrm>
            <a:off x="6277480" y="4555472"/>
            <a:ext cx="3146552" cy="1754326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Abertura de PRJ no </a:t>
            </a:r>
            <a:r>
              <a:rPr lang="pt-BR" sz="1200" dirty="0" err="1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e Inicio da etapa de DSOL das ondas 2 e 3 (Motor de regras, TV off e Oi Total 2P), com assunção de premissas e riscos. (slide 6)</a:t>
            </a:r>
          </a:p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 Inicio previsto das atividade de DSOL em 25/10 em BH com o usuário.</a:t>
            </a:r>
          </a:p>
          <a:p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+ Liberação de ambientes HML para instalação de framework </a:t>
            </a:r>
            <a:r>
              <a:rPr lang="pt-BR" sz="1200" dirty="0" err="1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vanila</a:t>
            </a:r>
            <a:r>
              <a:rPr lang="pt-BR" sz="1200" dirty="0">
                <a:solidFill>
                  <a:schemeClr val="accent6">
                    <a:lumMod val="75000"/>
                  </a:schemeClr>
                </a:solidFill>
                <a:latin typeface="Simplon BP Regular" pitchFamily="2" charset="0"/>
              </a:rPr>
              <a:t> RAID-FMS e gestão de acessos em 25/10.</a:t>
            </a:r>
            <a:endParaRPr lang="id-ID" sz="1200" dirty="0">
              <a:solidFill>
                <a:schemeClr val="accent6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85" name="TextBox 468"/>
          <p:cNvSpPr txBox="1"/>
          <p:nvPr/>
        </p:nvSpPr>
        <p:spPr>
          <a:xfrm>
            <a:off x="8993430" y="2309059"/>
            <a:ext cx="26867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DESENVOLVIMENTO ONDAS 2 E 3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ELABORAÇÃO DESENHO DE SOLUÇÃO ONDA 4 (TV ONLINE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42" name="TextBox 377"/>
          <p:cNvSpPr txBox="1"/>
          <p:nvPr/>
        </p:nvSpPr>
        <p:spPr>
          <a:xfrm>
            <a:off x="418947" y="1785970"/>
            <a:ext cx="282047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00A596"/>
                </a:solidFill>
                <a:latin typeface="Calibri"/>
              </a:defRPr>
            </a:lvl1pPr>
          </a:lstStyle>
          <a:p>
            <a:pPr algn="ctr"/>
            <a:r>
              <a:rPr lang="pt-BR" dirty="0" smtClean="0">
                <a:solidFill>
                  <a:srgbClr val="002060"/>
                </a:solidFill>
                <a:latin typeface="Simplon BP Regular" pitchFamily="2" charset="0"/>
              </a:rPr>
              <a:t>FASE:  WARM-UP FASE 0</a:t>
            </a:r>
            <a:endParaRPr lang="id-ID" sz="1050" dirty="0">
              <a:solidFill>
                <a:srgbClr val="002060"/>
              </a:solidFill>
              <a:latin typeface="Simplon BP Regular" pitchFamily="2" charset="0"/>
            </a:endParaRPr>
          </a:p>
        </p:txBody>
      </p:sp>
      <p:sp>
        <p:nvSpPr>
          <p:cNvPr id="43" name="TextBox 431"/>
          <p:cNvSpPr txBox="1"/>
          <p:nvPr/>
        </p:nvSpPr>
        <p:spPr>
          <a:xfrm>
            <a:off x="5949927" y="2309059"/>
            <a:ext cx="2992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ELABORAÇÃO E APROVAÇÃO DESENHO </a:t>
            </a:r>
            <a:r>
              <a:rPr lang="pt-BR" sz="1400" dirty="0">
                <a:solidFill>
                  <a:srgbClr val="00A596"/>
                </a:solidFill>
                <a:latin typeface="Simplon BP Regular" pitchFamily="2" charset="0"/>
              </a:rPr>
              <a:t>SOLUÇÃO </a:t>
            </a: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ONDAS 2 E 3 (OFFLINE)</a:t>
            </a:r>
          </a:p>
          <a:p>
            <a:pPr marL="285750" indent="-285750">
              <a:buFontTx/>
              <a:buChar char="-"/>
            </a:pPr>
            <a:r>
              <a:rPr lang="pt-BR" sz="1400" dirty="0" smtClean="0">
                <a:solidFill>
                  <a:srgbClr val="00A596"/>
                </a:solidFill>
                <a:latin typeface="Simplon BP Regular" pitchFamily="2" charset="0"/>
              </a:rPr>
              <a:t>INSTALAÇÃO FRAMEWORK VANILA</a:t>
            </a:r>
          </a:p>
        </p:txBody>
      </p:sp>
      <p:sp>
        <p:nvSpPr>
          <p:cNvPr id="45" name="TextBox 468"/>
          <p:cNvSpPr txBox="1"/>
          <p:nvPr/>
        </p:nvSpPr>
        <p:spPr>
          <a:xfrm>
            <a:off x="9075765" y="1784103"/>
            <a:ext cx="277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INICIO PROGRAMA 1 (PREVENÇÃO)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51" name="TextBox 431"/>
          <p:cNvSpPr txBox="1"/>
          <p:nvPr/>
        </p:nvSpPr>
        <p:spPr>
          <a:xfrm>
            <a:off x="9519568" y="4771428"/>
            <a:ext cx="2545055" cy="2123658"/>
          </a:xfrm>
          <a:prstGeom prst="rect">
            <a:avLst/>
          </a:prstGeom>
          <a:noFill/>
          <a:ln>
            <a:solidFill>
              <a:srgbClr val="FFA8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>
                <a:solidFill>
                  <a:srgbClr val="FF0000"/>
                </a:solidFill>
                <a:latin typeface="Calibri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onstrução de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streams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SIAF, SAC e SINN e desenvolvimento de regras para prevenção a fraudes off-line em DE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Abertura de PRJ 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arity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inicio da etapa de DSOL da onda 4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OiTotal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3P (análise de crédit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Transact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 e Score externo </a:t>
            </a:r>
            <a:r>
              <a:rPr lang="pt-BR" sz="1200" dirty="0" err="1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ClearSale</a:t>
            </a:r>
            <a:r>
              <a:rPr lang="pt-BR" sz="1200" dirty="0" smtClean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)</a:t>
            </a:r>
          </a:p>
          <a:p>
            <a:r>
              <a:rPr lang="pt-BR" sz="1200" dirty="0">
                <a:solidFill>
                  <a:schemeClr val="accent2">
                    <a:lumMod val="75000"/>
                  </a:schemeClr>
                </a:solidFill>
                <a:latin typeface="Simplon BP Regular" pitchFamily="2" charset="0"/>
              </a:rPr>
              <a:t>+ Expectativa de ambiente PRD em 23/11.</a:t>
            </a:r>
            <a:endParaRPr lang="id-ID" sz="1200" dirty="0">
              <a:solidFill>
                <a:schemeClr val="accent2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Estrela de 6 Pontas 10"/>
          <p:cNvSpPr/>
          <p:nvPr/>
        </p:nvSpPr>
        <p:spPr>
          <a:xfrm>
            <a:off x="11628581" y="3618037"/>
            <a:ext cx="218118" cy="377104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5751899" y="711832"/>
            <a:ext cx="647164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Este macro cronograma contém datas previstas que podem sofrer alteraçõ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Ao longo do andamento os </a:t>
            </a:r>
            <a:r>
              <a:rPr lang="pt-BR" sz="1400" dirty="0" err="1" smtClean="0">
                <a:latin typeface="Simplon BP Regular" pitchFamily="2" charset="0"/>
              </a:rPr>
              <a:t>reports</a:t>
            </a:r>
            <a:r>
              <a:rPr lang="pt-BR" sz="1400" dirty="0" smtClean="0">
                <a:latin typeface="Simplon BP Regular" pitchFamily="2" charset="0"/>
              </a:rPr>
              <a:t> serão feitos ajustando o que for necess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Somente teremos cronograma após etapa de Aprovação Financeira por Onda.</a:t>
            </a:r>
            <a:endParaRPr lang="pt-BR" sz="1400" dirty="0">
              <a:latin typeface="Simplon BP Regular" pitchFamily="2" charset="0"/>
            </a:endParaRPr>
          </a:p>
        </p:txBody>
      </p:sp>
      <p:sp>
        <p:nvSpPr>
          <p:cNvPr id="54" name="Estrela de 6 Pontas 53"/>
          <p:cNvSpPr/>
          <p:nvPr/>
        </p:nvSpPr>
        <p:spPr>
          <a:xfrm>
            <a:off x="11892438" y="6485354"/>
            <a:ext cx="218118" cy="322076"/>
          </a:xfrm>
          <a:prstGeom prst="star6">
            <a:avLst/>
          </a:prstGeom>
          <a:solidFill>
            <a:srgbClr val="FFFF00"/>
          </a:solidFill>
          <a:ln w="254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80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507467470"/>
              </p:ext>
            </p:extLst>
          </p:nvPr>
        </p:nvGraphicFramePr>
        <p:xfrm>
          <a:off x="251579" y="-194733"/>
          <a:ext cx="11940421" cy="5492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852291931"/>
              </p:ext>
            </p:extLst>
          </p:nvPr>
        </p:nvGraphicFramePr>
        <p:xfrm>
          <a:off x="212874" y="5263847"/>
          <a:ext cx="11688394" cy="619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203200" y="5923491"/>
            <a:ext cx="10972800" cy="886884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>
              <a:defRPr/>
            </a:pPr>
            <a:r>
              <a:rPr lang="en-US" sz="5600" dirty="0"/>
              <a:t>Roadmap raid-</a:t>
            </a:r>
            <a:r>
              <a:rPr lang="en-US" sz="5600" dirty="0" err="1"/>
              <a:t>fms</a:t>
            </a:r>
            <a:r>
              <a:rPr lang="en-US" sz="5600" dirty="0"/>
              <a:t> (draft </a:t>
            </a:r>
            <a:r>
              <a:rPr lang="en-US" sz="5600" dirty="0" smtClean="0"/>
              <a:t>3)</a:t>
            </a:r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395295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203200" y="5923491"/>
            <a:ext cx="10972800" cy="886884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>
              <a:defRPr/>
            </a:pPr>
            <a:r>
              <a:rPr lang="en-US" sz="5600" dirty="0" smtClean="0"/>
              <a:t>Macro </a:t>
            </a:r>
            <a:r>
              <a:rPr lang="en-US" sz="5600" dirty="0" err="1" smtClean="0"/>
              <a:t>entregas</a:t>
            </a:r>
            <a:r>
              <a:rPr lang="en-US" sz="5600" dirty="0" smtClean="0"/>
              <a:t> </a:t>
            </a:r>
            <a:r>
              <a:rPr lang="en-US" sz="5600" dirty="0" err="1" smtClean="0"/>
              <a:t>programa</a:t>
            </a:r>
            <a:r>
              <a:rPr lang="en-US" sz="5600" dirty="0"/>
              <a:t> </a:t>
            </a:r>
            <a:r>
              <a:rPr lang="en-US" sz="5600" dirty="0" smtClean="0"/>
              <a:t>1</a:t>
            </a:r>
            <a:endParaRPr lang="en-US" sz="5600" dirty="0"/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929008977"/>
              </p:ext>
            </p:extLst>
          </p:nvPr>
        </p:nvGraphicFramePr>
        <p:xfrm>
          <a:off x="203199" y="126611"/>
          <a:ext cx="11829143" cy="5610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759656" y="5416061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err="1" smtClean="0">
                <a:latin typeface="Simplon BP Regular" pitchFamily="2" charset="0"/>
              </a:rPr>
              <a:t>Fev</a:t>
            </a:r>
            <a:r>
              <a:rPr lang="pt-BR" sz="1600" i="1" dirty="0" smtClean="0">
                <a:latin typeface="Simplon BP Regular" pitchFamily="2" charset="0"/>
              </a:rPr>
              <a:t>/18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2684584" y="5416062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 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637539" y="5416060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 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6756962" y="5416059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 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876385" y="5416058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 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853226" y="5393487"/>
            <a:ext cx="1758460" cy="507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 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600" i="1" dirty="0" smtClean="0">
                <a:latin typeface="Simplon BP Regular" pitchFamily="2" charset="0"/>
              </a:rPr>
              <a:t>Funil de fraude $$$</a:t>
            </a: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600" i="1" dirty="0" smtClean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3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240757" y="2053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emissas gerais e cronograma: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firmar premissa de que Ondas 11 e 12 [Fixo R2] serão descontinuadas frente aos projetos Unifica e Upgrade do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nsact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Alinhamento com GP dos respectivos projetos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Trafego LDI e ROAMING será utilizado o NRT disponibilizado pela ASGA e CONFONE e não pela mediação. (premissa em validação com a mediação pelo time do projeto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stalação do RAID-FMS será conduzida de forma coordenada junto ao time de SI, minimizando a necessidade de termo de risc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sign de regras e telas pelo BPO para o programa 2 deve ser contratado durante o programa 1 para subsidiar a construção de motores de alarmes, casos, regras e telas diversas para tratamento e consulta. Para garantir que os extratores e integrações previstas no programa 1, irão atender ao programa 2. (CRM) Resp. Cezar Orçamento 2018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webservice m4u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oi controle sem fatura)deve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siderar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+100mil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madas/mês. SLA de resposta do FMS deverá levar em conta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atênci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a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 Necessária definição de regras, definição do webservice (campos 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etc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). 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verá ser definido qual o score externo será usado na Onda 3.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learsale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ou SERASA (contratação por ti/usuário?)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ção do arquivo de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hargeback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i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ontrole na Onda 10 Oi controle sem fatur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(CPF, TERMINAL, *TELEFONE DE CONTATO e DATA) para criação de regra de risco de fraude referente a clientes que pedem estorno de cobrança no cartão de 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credito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erá aberto PRJ especifico para o SIEBEL/BARRAMENTO referente ao tema de troca de chip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rgbClr val="FF0000"/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lvl="1">
              <a:spcBef>
                <a:spcPts val="1067"/>
              </a:spcBef>
            </a:pPr>
            <a:endParaRPr lang="pt-BR" sz="1867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20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1928" y="-47621"/>
            <a:ext cx="11905323" cy="800760"/>
          </a:xfrm>
        </p:spPr>
        <p:txBody>
          <a:bodyPr>
            <a:normAutofit fontScale="90000"/>
          </a:bodyPr>
          <a:lstStyle/>
          <a:p>
            <a:pPr>
              <a:lnSpc>
                <a:spcPts val="5600"/>
              </a:lnSpc>
              <a:spcBef>
                <a:spcPts val="0"/>
              </a:spcBef>
            </a:pP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REMISSAS e RISCOS MAPEADOS – Projeto novo Antifraude [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green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 </a:t>
            </a:r>
            <a:r>
              <a:rPr lang="pt-BR" sz="2400" dirty="0" err="1" smtClean="0">
                <a:solidFill>
                  <a:srgbClr val="A02BFF"/>
                </a:solidFill>
                <a:latin typeface="Simplon Oi Headline"/>
                <a:cs typeface="Simplon Oi Headline"/>
              </a:rPr>
              <a:t>field</a:t>
            </a:r>
            <a:r>
              <a:rPr lang="pt-BR" sz="240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]</a:t>
            </a:r>
            <a:endParaRPr lang="pt-BR" sz="240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98989" y="700623"/>
            <a:ext cx="11951243" cy="6157377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6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67"/>
              </a:spcBef>
            </a:pPr>
            <a:r>
              <a:rPr lang="pt-BR" sz="1867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iscos:</a:t>
            </a:r>
            <a:endParaRPr lang="pt-BR" sz="1867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Os campos que serão utilizados para telas deverão ser definidos em tempo de especificação dos extratores. Onda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de definição de telas depende de etapa de confirmação de campos, workflows e processo de atendimento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.</a:t>
            </a:r>
          </a:p>
          <a:p>
            <a:pPr marL="171450" indent="-171450">
              <a:spcBef>
                <a:spcPts val="1067"/>
              </a:spcBef>
              <a:buFontTx/>
              <a:buChar char="-"/>
            </a:pP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Atraso na onda 7.1 do RAID-FMS (CRM) decorrente de desvios relacionados ao desenvolvimento SIEBEL/STC/SINN/SAC na esteira de releases JUN/JUL. calendário de 2018 sinaliza que abertura do PRJ deve ser feita em NOV/17, para pré-candidatura em JAN/18 e aprovação de escopo em </a:t>
            </a:r>
            <a:r>
              <a:rPr lang="pt-BR" sz="12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fev</a:t>
            </a:r>
            <a:r>
              <a:rPr lang="pt-BR" sz="12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/18.</a:t>
            </a: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 marL="171450" indent="-171450">
              <a:spcBef>
                <a:spcPts val="1067"/>
              </a:spcBef>
              <a:buFontTx/>
              <a:buChar char="-"/>
            </a:pPr>
            <a:endParaRPr lang="pt-BR" sz="12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75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67</TotalTime>
  <Words>2005</Words>
  <Application>Microsoft Office PowerPoint</Application>
  <PresentationFormat>Widescreen</PresentationFormat>
  <Paragraphs>236</Paragraphs>
  <Slides>11</Slides>
  <Notes>8</Notes>
  <HiddenSlides>3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6" baseType="lpstr">
      <vt:lpstr>ＭＳ Ｐゴシック</vt:lpstr>
      <vt:lpstr>Arial</vt:lpstr>
      <vt:lpstr>Calibri</vt:lpstr>
      <vt:lpstr>Calibri Light</vt:lpstr>
      <vt:lpstr>Georgia</vt:lpstr>
      <vt:lpstr>Museo Sans 300</vt:lpstr>
      <vt:lpstr>Simplon BP</vt:lpstr>
      <vt:lpstr>Simplon BP Bold</vt:lpstr>
      <vt:lpstr>Simplon BP Medium</vt:lpstr>
      <vt:lpstr>Simplon BP Regular</vt:lpstr>
      <vt:lpstr>Simplon Oi Headline</vt:lpstr>
      <vt:lpstr>Wingdings</vt:lpstr>
      <vt:lpstr>Tema do Office</vt:lpstr>
      <vt:lpstr>6_FBBR0598.TP.130513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EMISSAS e RISCOS MAPEADOS – Projeto novo Antifraude [green field]</vt:lpstr>
      <vt:lpstr>PREMISSAS e RISCOS MAPEADOS – Projeto novo Antifraude [green field]</vt:lpstr>
      <vt:lpstr>ISSUES– Projeto novo Antifraude [green field]</vt:lpstr>
      <vt:lpstr>Pontos de alinhamento – ti / negóci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. Cinelli</dc:creator>
  <cp:lastModifiedBy>Usuário do Windows</cp:lastModifiedBy>
  <cp:revision>367</cp:revision>
  <dcterms:created xsi:type="dcterms:W3CDTF">2016-02-02T17:08:20Z</dcterms:created>
  <dcterms:modified xsi:type="dcterms:W3CDTF">2017-10-16T16:54:26Z</dcterms:modified>
</cp:coreProperties>
</file>